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2" r:id="rId2"/>
  </p:sldMasterIdLst>
  <p:notesMasterIdLst>
    <p:notesMasterId r:id="rId24"/>
  </p:notesMasterIdLst>
  <p:handoutMasterIdLst>
    <p:handoutMasterId r:id="rId25"/>
  </p:handoutMasterIdLst>
  <p:sldIdLst>
    <p:sldId id="259" r:id="rId3"/>
    <p:sldId id="275" r:id="rId4"/>
    <p:sldId id="277" r:id="rId5"/>
    <p:sldId id="278" r:id="rId6"/>
    <p:sldId id="276" r:id="rId7"/>
    <p:sldId id="280" r:id="rId8"/>
    <p:sldId id="281" r:id="rId9"/>
    <p:sldId id="282" r:id="rId10"/>
    <p:sldId id="283" r:id="rId11"/>
    <p:sldId id="284" r:id="rId12"/>
    <p:sldId id="293" r:id="rId13"/>
    <p:sldId id="294" r:id="rId14"/>
    <p:sldId id="285" r:id="rId15"/>
    <p:sldId id="270" r:id="rId16"/>
    <p:sldId id="286" r:id="rId17"/>
    <p:sldId id="288" r:id="rId18"/>
    <p:sldId id="289" r:id="rId19"/>
    <p:sldId id="290" r:id="rId20"/>
    <p:sldId id="291" r:id="rId21"/>
    <p:sldId id="292" r:id="rId22"/>
    <p:sldId id="274" r:id="rId23"/>
  </p:sldIdLst>
  <p:sldSz cx="9144000" cy="6858000" type="screen4x3"/>
  <p:notesSz cx="6858000" cy="91440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1B1B"/>
    <a:srgbClr val="C6C628"/>
    <a:srgbClr val="2C8462"/>
    <a:srgbClr val="1792B9"/>
    <a:srgbClr val="396791"/>
    <a:srgbClr val="2F3F6B"/>
    <a:srgbClr val="35477B"/>
    <a:srgbClr val="0082B0"/>
    <a:srgbClr val="C8E325"/>
    <a:srgbClr val="9C2E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1500" y="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032"/>
    </p:cViewPr>
  </p:sorterViewPr>
  <p:notesViewPr>
    <p:cSldViewPr snapToGrid="0">
      <p:cViewPr varScale="1">
        <p:scale>
          <a:sx n="70" d="100"/>
          <a:sy n="70" d="100"/>
        </p:scale>
        <p:origin x="238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C1CDE59-E65C-4D4F-BC39-764DEE119785}" type="doc">
      <dgm:prSet loTypeId="urn:microsoft.com/office/officeart/2005/8/layout/target2" loCatId="relationship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CL"/>
        </a:p>
      </dgm:t>
    </dgm:pt>
    <dgm:pt modelId="{675E834B-0166-42C8-8A5F-28165B560BE7}">
      <dgm:prSet phldrT="[Texto]" custT="1"/>
      <dgm:spPr/>
      <dgm:t>
        <a:bodyPr/>
        <a:lstStyle/>
        <a:p>
          <a:r>
            <a:rPr lang="es-CL" sz="2400" b="1" dirty="0">
              <a:solidFill>
                <a:schemeClr val="tx2"/>
              </a:solidFill>
            </a:rPr>
            <a:t>ESTRATEGIA MIDAS</a:t>
          </a:r>
        </a:p>
      </dgm:t>
    </dgm:pt>
    <dgm:pt modelId="{4F088D52-90E1-46AB-A8B4-632F93058FBD}" type="parTrans" cxnId="{AA8AE9ED-982C-4E2F-980E-6D80C1CB6053}">
      <dgm:prSet/>
      <dgm:spPr/>
      <dgm:t>
        <a:bodyPr/>
        <a:lstStyle/>
        <a:p>
          <a:endParaRPr lang="es-CL" sz="1600">
            <a:solidFill>
              <a:schemeClr val="tx2"/>
            </a:solidFill>
          </a:endParaRPr>
        </a:p>
      </dgm:t>
    </dgm:pt>
    <dgm:pt modelId="{F92BE3B7-C6BC-4CE0-82CB-6205295E73E4}" type="sibTrans" cxnId="{AA8AE9ED-982C-4E2F-980E-6D80C1CB6053}">
      <dgm:prSet/>
      <dgm:spPr/>
      <dgm:t>
        <a:bodyPr/>
        <a:lstStyle/>
        <a:p>
          <a:endParaRPr lang="es-CL" sz="1600">
            <a:solidFill>
              <a:schemeClr val="tx2"/>
            </a:solidFill>
          </a:endParaRPr>
        </a:p>
      </dgm:t>
    </dgm:pt>
    <dgm:pt modelId="{A38C4C13-7999-495E-A1AD-B5BDB8B5E588}">
      <dgm:prSet phldrT="[Texto]" custT="1"/>
      <dgm:spPr/>
      <dgm:t>
        <a:bodyPr/>
        <a:lstStyle/>
        <a:p>
          <a:r>
            <a:rPr lang="es-CL" sz="1800" dirty="0" smtClean="0">
              <a:solidFill>
                <a:schemeClr val="tx2"/>
              </a:solidFill>
            </a:rPr>
            <a:t>Aplicaciones Web y </a:t>
          </a:r>
          <a:r>
            <a:rPr lang="es-CL" sz="1800" dirty="0" err="1" smtClean="0">
              <a:solidFill>
                <a:schemeClr val="tx2"/>
              </a:solidFill>
            </a:rPr>
            <a:t>Mobiles</a:t>
          </a:r>
          <a:r>
            <a:rPr lang="es-CL" sz="1800" dirty="0">
              <a:solidFill>
                <a:schemeClr val="tx2"/>
              </a:solidFill>
            </a:rPr>
            <a:t>	</a:t>
          </a:r>
        </a:p>
      </dgm:t>
    </dgm:pt>
    <dgm:pt modelId="{A45B6248-62BA-411C-871E-B50577EE6BD8}" type="parTrans" cxnId="{B578C32D-9B00-4AD3-AA95-457103D1E688}">
      <dgm:prSet/>
      <dgm:spPr/>
      <dgm:t>
        <a:bodyPr/>
        <a:lstStyle/>
        <a:p>
          <a:endParaRPr lang="es-CL" sz="1600">
            <a:solidFill>
              <a:schemeClr val="tx2"/>
            </a:solidFill>
          </a:endParaRPr>
        </a:p>
      </dgm:t>
    </dgm:pt>
    <dgm:pt modelId="{B4EF6E2D-3D08-48EE-953C-4088EAB40C46}" type="sibTrans" cxnId="{B578C32D-9B00-4AD3-AA95-457103D1E688}">
      <dgm:prSet/>
      <dgm:spPr/>
      <dgm:t>
        <a:bodyPr/>
        <a:lstStyle/>
        <a:p>
          <a:endParaRPr lang="es-CL" sz="1600">
            <a:solidFill>
              <a:schemeClr val="tx2"/>
            </a:solidFill>
          </a:endParaRPr>
        </a:p>
      </dgm:t>
    </dgm:pt>
    <dgm:pt modelId="{BA939366-7435-4052-AE69-57C0869B9C9C}">
      <dgm:prSet phldrT="[Texto]" custT="1"/>
      <dgm:spPr/>
      <dgm:t>
        <a:bodyPr/>
        <a:lstStyle/>
        <a:p>
          <a:r>
            <a:rPr lang="es-CL" sz="1800" dirty="0" smtClean="0">
              <a:solidFill>
                <a:schemeClr val="tx2"/>
              </a:solidFill>
            </a:rPr>
            <a:t>Desarrollos propios</a:t>
          </a:r>
          <a:endParaRPr lang="es-CL" sz="1800" dirty="0">
            <a:solidFill>
              <a:schemeClr val="tx2"/>
            </a:solidFill>
          </a:endParaRPr>
        </a:p>
      </dgm:t>
    </dgm:pt>
    <dgm:pt modelId="{080819F9-726E-4C30-AA08-83725C63AC4C}" type="parTrans" cxnId="{22F97418-7882-449B-B04B-E05AE2836B67}">
      <dgm:prSet/>
      <dgm:spPr/>
      <dgm:t>
        <a:bodyPr/>
        <a:lstStyle/>
        <a:p>
          <a:endParaRPr lang="es-CL" sz="1600">
            <a:solidFill>
              <a:schemeClr val="tx2"/>
            </a:solidFill>
          </a:endParaRPr>
        </a:p>
      </dgm:t>
    </dgm:pt>
    <dgm:pt modelId="{12B4E664-EA55-4726-8E89-A63797E790D8}" type="sibTrans" cxnId="{22F97418-7882-449B-B04B-E05AE2836B67}">
      <dgm:prSet/>
      <dgm:spPr/>
      <dgm:t>
        <a:bodyPr/>
        <a:lstStyle/>
        <a:p>
          <a:endParaRPr lang="es-CL" sz="1600">
            <a:solidFill>
              <a:schemeClr val="tx2"/>
            </a:solidFill>
          </a:endParaRPr>
        </a:p>
      </dgm:t>
    </dgm:pt>
    <dgm:pt modelId="{573B2A31-BD35-42CA-BEED-7169F7B5B014}">
      <dgm:prSet phldrT="[Texto]" custT="1"/>
      <dgm:spPr/>
      <dgm:t>
        <a:bodyPr/>
        <a:lstStyle/>
        <a:p>
          <a:r>
            <a:rPr lang="es-CL" sz="2400" b="1" dirty="0">
              <a:solidFill>
                <a:schemeClr val="tx2"/>
              </a:solidFill>
            </a:rPr>
            <a:t>Modernización de la Autoridad Sanitaria Digital</a:t>
          </a:r>
        </a:p>
      </dgm:t>
    </dgm:pt>
    <dgm:pt modelId="{68789F74-2039-4ACC-BE2F-7AAB6061E11F}" type="parTrans" cxnId="{0DA739D1-1400-407D-9EAC-BC2BB6722745}">
      <dgm:prSet/>
      <dgm:spPr/>
      <dgm:t>
        <a:bodyPr/>
        <a:lstStyle/>
        <a:p>
          <a:endParaRPr lang="es-CL" sz="1600">
            <a:solidFill>
              <a:schemeClr val="tx2"/>
            </a:solidFill>
          </a:endParaRPr>
        </a:p>
      </dgm:t>
    </dgm:pt>
    <dgm:pt modelId="{F13D3A6B-CB69-493D-B7D6-736ABD474610}" type="sibTrans" cxnId="{0DA739D1-1400-407D-9EAC-BC2BB6722745}">
      <dgm:prSet/>
      <dgm:spPr/>
      <dgm:t>
        <a:bodyPr/>
        <a:lstStyle/>
        <a:p>
          <a:endParaRPr lang="es-CL" sz="1600">
            <a:solidFill>
              <a:schemeClr val="tx2"/>
            </a:solidFill>
          </a:endParaRPr>
        </a:p>
      </dgm:t>
    </dgm:pt>
    <dgm:pt modelId="{241B1028-E15A-4A27-9083-AA0CE438072F}">
      <dgm:prSet phldrT="[Texto]" custT="1"/>
      <dgm:spPr/>
      <dgm:t>
        <a:bodyPr/>
        <a:lstStyle/>
        <a:p>
          <a:pPr algn="ctr"/>
          <a:r>
            <a:rPr lang="es-CL" sz="1300" dirty="0">
              <a:solidFill>
                <a:schemeClr val="tx2"/>
              </a:solidFill>
            </a:rPr>
            <a:t>Requerimientos técnicos	</a:t>
          </a:r>
        </a:p>
      </dgm:t>
    </dgm:pt>
    <dgm:pt modelId="{B484C103-EC0D-4314-9D8C-84A87F117FA6}" type="parTrans" cxnId="{58CBB951-F6F7-4E5C-B101-3FF19F866DEB}">
      <dgm:prSet/>
      <dgm:spPr/>
      <dgm:t>
        <a:bodyPr/>
        <a:lstStyle/>
        <a:p>
          <a:endParaRPr lang="es-CL" sz="1600">
            <a:solidFill>
              <a:schemeClr val="tx2"/>
            </a:solidFill>
          </a:endParaRPr>
        </a:p>
      </dgm:t>
    </dgm:pt>
    <dgm:pt modelId="{E8423CF1-16C9-4761-B01E-4475966A9B0D}" type="sibTrans" cxnId="{58CBB951-F6F7-4E5C-B101-3FF19F866DEB}">
      <dgm:prSet/>
      <dgm:spPr/>
      <dgm:t>
        <a:bodyPr/>
        <a:lstStyle/>
        <a:p>
          <a:endParaRPr lang="es-CL" sz="1600">
            <a:solidFill>
              <a:schemeClr val="tx2"/>
            </a:solidFill>
          </a:endParaRPr>
        </a:p>
      </dgm:t>
    </dgm:pt>
    <dgm:pt modelId="{531ACC14-5253-4F5C-9BFB-9FBA785175EC}">
      <dgm:prSet phldrT="[Texto]" custT="1"/>
      <dgm:spPr/>
      <dgm:t>
        <a:bodyPr/>
        <a:lstStyle/>
        <a:p>
          <a:r>
            <a:rPr lang="es-CL" sz="1300" dirty="0">
              <a:solidFill>
                <a:schemeClr val="tx2"/>
              </a:solidFill>
            </a:rPr>
            <a:t>Requerimientos  funcionales</a:t>
          </a:r>
        </a:p>
      </dgm:t>
    </dgm:pt>
    <dgm:pt modelId="{CC06DA34-F96B-4ACB-A474-2CA680BEAFC7}" type="parTrans" cxnId="{39064A9C-2521-4AEF-8237-DA22B7934B60}">
      <dgm:prSet/>
      <dgm:spPr/>
      <dgm:t>
        <a:bodyPr/>
        <a:lstStyle/>
        <a:p>
          <a:endParaRPr lang="es-CL" sz="1600">
            <a:solidFill>
              <a:schemeClr val="tx2"/>
            </a:solidFill>
          </a:endParaRPr>
        </a:p>
      </dgm:t>
    </dgm:pt>
    <dgm:pt modelId="{9E3C9BB5-0810-48C8-85C9-F3303DCAC004}" type="sibTrans" cxnId="{39064A9C-2521-4AEF-8237-DA22B7934B60}">
      <dgm:prSet/>
      <dgm:spPr/>
      <dgm:t>
        <a:bodyPr/>
        <a:lstStyle/>
        <a:p>
          <a:endParaRPr lang="es-CL" sz="1600">
            <a:solidFill>
              <a:schemeClr val="tx2"/>
            </a:solidFill>
          </a:endParaRPr>
        </a:p>
      </dgm:t>
    </dgm:pt>
    <dgm:pt modelId="{E582867A-1273-4444-9B76-0E2EECA0ADF1}">
      <dgm:prSet phldrT="[Texto]" custT="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CL" sz="2400" b="1" dirty="0">
            <a:solidFill>
              <a:schemeClr val="tx2"/>
            </a:solidFill>
          </a:endParaRPr>
        </a:p>
      </dgm:t>
    </dgm:pt>
    <dgm:pt modelId="{C681BB43-8759-4884-A628-49311A3CCF9D}" type="sibTrans" cxnId="{C61DE1B2-C2DE-4444-9686-7C1A3B0965E0}">
      <dgm:prSet/>
      <dgm:spPr/>
      <dgm:t>
        <a:bodyPr/>
        <a:lstStyle/>
        <a:p>
          <a:endParaRPr lang="es-CL" sz="1600">
            <a:solidFill>
              <a:schemeClr val="tx2"/>
            </a:solidFill>
          </a:endParaRPr>
        </a:p>
      </dgm:t>
    </dgm:pt>
    <dgm:pt modelId="{20FD7089-79A9-4A05-AD02-AA80C9FCFA45}" type="parTrans" cxnId="{C61DE1B2-C2DE-4444-9686-7C1A3B0965E0}">
      <dgm:prSet/>
      <dgm:spPr/>
      <dgm:t>
        <a:bodyPr/>
        <a:lstStyle/>
        <a:p>
          <a:endParaRPr lang="es-CL" sz="1600">
            <a:solidFill>
              <a:schemeClr val="tx2"/>
            </a:solidFill>
          </a:endParaRPr>
        </a:p>
      </dgm:t>
    </dgm:pt>
    <dgm:pt modelId="{C4A0B75F-3130-49E5-92E4-24E277E083BD}" type="pres">
      <dgm:prSet presAssocID="{0C1CDE59-E65C-4D4F-BC39-764DEE119785}" presName="Name0" presStyleCnt="0">
        <dgm:presLayoutVars>
          <dgm:chMax val="3"/>
          <dgm:chPref val="1"/>
          <dgm:dir/>
          <dgm:animLvl val="lvl"/>
          <dgm:resizeHandles/>
        </dgm:presLayoutVars>
      </dgm:prSet>
      <dgm:spPr/>
      <dgm:t>
        <a:bodyPr/>
        <a:lstStyle/>
        <a:p>
          <a:endParaRPr lang="es-ES"/>
        </a:p>
      </dgm:t>
    </dgm:pt>
    <dgm:pt modelId="{BF5C0473-0F80-40BA-A2C6-A9B7AE389D32}" type="pres">
      <dgm:prSet presAssocID="{0C1CDE59-E65C-4D4F-BC39-764DEE119785}" presName="outerBox" presStyleCnt="0"/>
      <dgm:spPr/>
    </dgm:pt>
    <dgm:pt modelId="{C647D5B5-1F49-448B-8BEE-EC9D6FBB8B43}" type="pres">
      <dgm:prSet presAssocID="{0C1CDE59-E65C-4D4F-BC39-764DEE119785}" presName="outerBoxParent" presStyleLbl="node1" presStyleIdx="0" presStyleCnt="3" custLinFactNeighborX="-4589" custLinFactNeighborY="-1426"/>
      <dgm:spPr/>
      <dgm:t>
        <a:bodyPr/>
        <a:lstStyle/>
        <a:p>
          <a:endParaRPr lang="es-ES"/>
        </a:p>
      </dgm:t>
    </dgm:pt>
    <dgm:pt modelId="{02A0F2A1-9451-49EA-9CB4-7C88C6D4DC97}" type="pres">
      <dgm:prSet presAssocID="{0C1CDE59-E65C-4D4F-BC39-764DEE119785}" presName="outerBoxChildren" presStyleCnt="0"/>
      <dgm:spPr/>
    </dgm:pt>
    <dgm:pt modelId="{9C760130-1903-4200-B2C4-631269D91204}" type="pres">
      <dgm:prSet presAssocID="{A38C4C13-7999-495E-A1AD-B5BDB8B5E588}" presName="oChild" presStyleLbl="fgAcc1" presStyleIdx="0" presStyleCnt="4" custScaleX="120745" custScaleY="8857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A0E2E01-2871-498A-808C-97C9D102D8EA}" type="pres">
      <dgm:prSet presAssocID="{B4EF6E2D-3D08-48EE-953C-4088EAB40C46}" presName="outerSibTrans" presStyleCnt="0"/>
      <dgm:spPr/>
    </dgm:pt>
    <dgm:pt modelId="{49AEEA6C-C052-481A-A249-5C1A0E512060}" type="pres">
      <dgm:prSet presAssocID="{BA939366-7435-4052-AE69-57C0869B9C9C}" presName="oChild" presStyleLbl="fgAcc1" presStyleIdx="1" presStyleCnt="4" custScaleX="110306" custScaleY="86619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29F9E7C-0AA4-44BF-9C9A-5913E7306DF8}" type="pres">
      <dgm:prSet presAssocID="{0C1CDE59-E65C-4D4F-BC39-764DEE119785}" presName="middleBox" presStyleCnt="0"/>
      <dgm:spPr/>
    </dgm:pt>
    <dgm:pt modelId="{895068AD-B503-405E-8E49-0EC2DD080936}" type="pres">
      <dgm:prSet presAssocID="{0C1CDE59-E65C-4D4F-BC39-764DEE119785}" presName="middleBoxParent" presStyleLbl="node1" presStyleIdx="1" presStyleCnt="3" custScaleY="117007" custLinFactNeighborX="253" custLinFactNeighborY="-6047"/>
      <dgm:spPr/>
      <dgm:t>
        <a:bodyPr/>
        <a:lstStyle/>
        <a:p>
          <a:endParaRPr lang="es-ES"/>
        </a:p>
      </dgm:t>
    </dgm:pt>
    <dgm:pt modelId="{7044D6CC-51CB-45CC-BB5E-64D557850B28}" type="pres">
      <dgm:prSet presAssocID="{0C1CDE59-E65C-4D4F-BC39-764DEE119785}" presName="middleBoxChildren" presStyleCnt="0"/>
      <dgm:spPr/>
    </dgm:pt>
    <dgm:pt modelId="{D786D3DB-4C57-41F1-9125-FCFED760E966}" type="pres">
      <dgm:prSet presAssocID="{241B1028-E15A-4A27-9083-AA0CE438072F}" presName="mChild" presStyleLbl="fgAcc1" presStyleIdx="2" presStyleCnt="4" custScaleX="104829" custLinFactY="-26823" custLinFactNeighborX="15786" custLinFactNeighborY="-10000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90DA0CD-FB48-4902-BF85-641D9957DFCB}" type="pres">
      <dgm:prSet presAssocID="{E8423CF1-16C9-4761-B01E-4475966A9B0D}" presName="middleSibTrans" presStyleCnt="0"/>
      <dgm:spPr/>
    </dgm:pt>
    <dgm:pt modelId="{4C1355E5-040F-4831-B300-B342063BA564}" type="pres">
      <dgm:prSet presAssocID="{531ACC14-5253-4F5C-9BFB-9FBA785175EC}" presName="mChild" presStyleLbl="fgAcc1" presStyleIdx="3" presStyleCnt="4" custScaleX="102768" custLinFactY="-2349" custLinFactNeighborX="15155" custLinFactNeighborY="-10000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230A666-A03F-489E-BB15-A590F6999A16}" type="pres">
      <dgm:prSet presAssocID="{0C1CDE59-E65C-4D4F-BC39-764DEE119785}" presName="centerBox" presStyleCnt="0"/>
      <dgm:spPr/>
    </dgm:pt>
    <dgm:pt modelId="{6EB97C69-8D6A-432B-911E-1E87B3FE34ED}" type="pres">
      <dgm:prSet presAssocID="{0C1CDE59-E65C-4D4F-BC39-764DEE119785}" presName="centerBoxParent" presStyleLbl="node1" presStyleIdx="2" presStyleCnt="3" custScaleX="82676" custScaleY="121605" custLinFactNeighborY="-10582"/>
      <dgm:spPr/>
      <dgm:t>
        <a:bodyPr/>
        <a:lstStyle/>
        <a:p>
          <a:endParaRPr lang="es-ES"/>
        </a:p>
      </dgm:t>
    </dgm:pt>
  </dgm:ptLst>
  <dgm:cxnLst>
    <dgm:cxn modelId="{22F97418-7882-449B-B04B-E05AE2836B67}" srcId="{675E834B-0166-42C8-8A5F-28165B560BE7}" destId="{BA939366-7435-4052-AE69-57C0869B9C9C}" srcOrd="1" destOrd="0" parTransId="{080819F9-726E-4C30-AA08-83725C63AC4C}" sibTransId="{12B4E664-EA55-4726-8E89-A63797E790D8}"/>
    <dgm:cxn modelId="{22857AF4-AD6C-4C52-B75C-7A90B36078E9}" type="presOf" srcId="{A38C4C13-7999-495E-A1AD-B5BDB8B5E588}" destId="{9C760130-1903-4200-B2C4-631269D91204}" srcOrd="0" destOrd="0" presId="urn:microsoft.com/office/officeart/2005/8/layout/target2"/>
    <dgm:cxn modelId="{39064A9C-2521-4AEF-8237-DA22B7934B60}" srcId="{573B2A31-BD35-42CA-BEED-7169F7B5B014}" destId="{531ACC14-5253-4F5C-9BFB-9FBA785175EC}" srcOrd="1" destOrd="0" parTransId="{CC06DA34-F96B-4ACB-A474-2CA680BEAFC7}" sibTransId="{9E3C9BB5-0810-48C8-85C9-F3303DCAC004}"/>
    <dgm:cxn modelId="{8BDA55F6-5D3A-45DA-9EAC-774295FE2907}" type="presOf" srcId="{675E834B-0166-42C8-8A5F-28165B560BE7}" destId="{C647D5B5-1F49-448B-8BEE-EC9D6FBB8B43}" srcOrd="0" destOrd="0" presId="urn:microsoft.com/office/officeart/2005/8/layout/target2"/>
    <dgm:cxn modelId="{0DA739D1-1400-407D-9EAC-BC2BB6722745}" srcId="{0C1CDE59-E65C-4D4F-BC39-764DEE119785}" destId="{573B2A31-BD35-42CA-BEED-7169F7B5B014}" srcOrd="1" destOrd="0" parTransId="{68789F74-2039-4ACC-BE2F-7AAB6061E11F}" sibTransId="{F13D3A6B-CB69-493D-B7D6-736ABD474610}"/>
    <dgm:cxn modelId="{B578C32D-9B00-4AD3-AA95-457103D1E688}" srcId="{675E834B-0166-42C8-8A5F-28165B560BE7}" destId="{A38C4C13-7999-495E-A1AD-B5BDB8B5E588}" srcOrd="0" destOrd="0" parTransId="{A45B6248-62BA-411C-871E-B50577EE6BD8}" sibTransId="{B4EF6E2D-3D08-48EE-953C-4088EAB40C46}"/>
    <dgm:cxn modelId="{C61DE1B2-C2DE-4444-9686-7C1A3B0965E0}" srcId="{0C1CDE59-E65C-4D4F-BC39-764DEE119785}" destId="{E582867A-1273-4444-9B76-0E2EECA0ADF1}" srcOrd="2" destOrd="0" parTransId="{20FD7089-79A9-4A05-AD02-AA80C9FCFA45}" sibTransId="{C681BB43-8759-4884-A628-49311A3CCF9D}"/>
    <dgm:cxn modelId="{6D168C92-8E13-41E2-A5DB-446420A66517}" type="presOf" srcId="{BA939366-7435-4052-AE69-57C0869B9C9C}" destId="{49AEEA6C-C052-481A-A249-5C1A0E512060}" srcOrd="0" destOrd="0" presId="urn:microsoft.com/office/officeart/2005/8/layout/target2"/>
    <dgm:cxn modelId="{8F7102A6-2810-4B2B-A49C-8149C99E98FC}" type="presOf" srcId="{573B2A31-BD35-42CA-BEED-7169F7B5B014}" destId="{895068AD-B503-405E-8E49-0EC2DD080936}" srcOrd="0" destOrd="0" presId="urn:microsoft.com/office/officeart/2005/8/layout/target2"/>
    <dgm:cxn modelId="{A38B1E6B-6237-4404-A119-5990FD33ED37}" type="presOf" srcId="{241B1028-E15A-4A27-9083-AA0CE438072F}" destId="{D786D3DB-4C57-41F1-9125-FCFED760E966}" srcOrd="0" destOrd="0" presId="urn:microsoft.com/office/officeart/2005/8/layout/target2"/>
    <dgm:cxn modelId="{DA7E28EA-22B9-4CE2-A29D-6DB54249401D}" type="presOf" srcId="{531ACC14-5253-4F5C-9BFB-9FBA785175EC}" destId="{4C1355E5-040F-4831-B300-B342063BA564}" srcOrd="0" destOrd="0" presId="urn:microsoft.com/office/officeart/2005/8/layout/target2"/>
    <dgm:cxn modelId="{58CBB951-F6F7-4E5C-B101-3FF19F866DEB}" srcId="{573B2A31-BD35-42CA-BEED-7169F7B5B014}" destId="{241B1028-E15A-4A27-9083-AA0CE438072F}" srcOrd="0" destOrd="0" parTransId="{B484C103-EC0D-4314-9D8C-84A87F117FA6}" sibTransId="{E8423CF1-16C9-4761-B01E-4475966A9B0D}"/>
    <dgm:cxn modelId="{4EC98901-4EBB-4A8B-80EB-FC71F0815CA4}" type="presOf" srcId="{E582867A-1273-4444-9B76-0E2EECA0ADF1}" destId="{6EB97C69-8D6A-432B-911E-1E87B3FE34ED}" srcOrd="0" destOrd="0" presId="urn:microsoft.com/office/officeart/2005/8/layout/target2"/>
    <dgm:cxn modelId="{7B2520A3-E8F6-41A3-99EE-BC96C4000058}" type="presOf" srcId="{0C1CDE59-E65C-4D4F-BC39-764DEE119785}" destId="{C4A0B75F-3130-49E5-92E4-24E277E083BD}" srcOrd="0" destOrd="0" presId="urn:microsoft.com/office/officeart/2005/8/layout/target2"/>
    <dgm:cxn modelId="{AA8AE9ED-982C-4E2F-980E-6D80C1CB6053}" srcId="{0C1CDE59-E65C-4D4F-BC39-764DEE119785}" destId="{675E834B-0166-42C8-8A5F-28165B560BE7}" srcOrd="0" destOrd="0" parTransId="{4F088D52-90E1-46AB-A8B4-632F93058FBD}" sibTransId="{F92BE3B7-C6BC-4CE0-82CB-6205295E73E4}"/>
    <dgm:cxn modelId="{83BF00B6-4346-4930-AD3B-6A358677C90A}" type="presParOf" srcId="{C4A0B75F-3130-49E5-92E4-24E277E083BD}" destId="{BF5C0473-0F80-40BA-A2C6-A9B7AE389D32}" srcOrd="0" destOrd="0" presId="urn:microsoft.com/office/officeart/2005/8/layout/target2"/>
    <dgm:cxn modelId="{9629ECAB-007F-4550-A94A-69EF2BFB4280}" type="presParOf" srcId="{BF5C0473-0F80-40BA-A2C6-A9B7AE389D32}" destId="{C647D5B5-1F49-448B-8BEE-EC9D6FBB8B43}" srcOrd="0" destOrd="0" presId="urn:microsoft.com/office/officeart/2005/8/layout/target2"/>
    <dgm:cxn modelId="{EC236424-92D5-483A-8398-83180186A45A}" type="presParOf" srcId="{BF5C0473-0F80-40BA-A2C6-A9B7AE389D32}" destId="{02A0F2A1-9451-49EA-9CB4-7C88C6D4DC97}" srcOrd="1" destOrd="0" presId="urn:microsoft.com/office/officeart/2005/8/layout/target2"/>
    <dgm:cxn modelId="{79403BD4-176D-4D3A-B814-E75CC83C9FEE}" type="presParOf" srcId="{02A0F2A1-9451-49EA-9CB4-7C88C6D4DC97}" destId="{9C760130-1903-4200-B2C4-631269D91204}" srcOrd="0" destOrd="0" presId="urn:microsoft.com/office/officeart/2005/8/layout/target2"/>
    <dgm:cxn modelId="{0E4DFE71-0097-44E9-B4B2-CF1F24AE5A4E}" type="presParOf" srcId="{02A0F2A1-9451-49EA-9CB4-7C88C6D4DC97}" destId="{BA0E2E01-2871-498A-808C-97C9D102D8EA}" srcOrd="1" destOrd="0" presId="urn:microsoft.com/office/officeart/2005/8/layout/target2"/>
    <dgm:cxn modelId="{7E3E005F-DEB7-44AA-88DD-41105D946A70}" type="presParOf" srcId="{02A0F2A1-9451-49EA-9CB4-7C88C6D4DC97}" destId="{49AEEA6C-C052-481A-A249-5C1A0E512060}" srcOrd="2" destOrd="0" presId="urn:microsoft.com/office/officeart/2005/8/layout/target2"/>
    <dgm:cxn modelId="{D9ADD26E-1F25-4DCA-9AF3-89B64EA97FFF}" type="presParOf" srcId="{C4A0B75F-3130-49E5-92E4-24E277E083BD}" destId="{B29F9E7C-0AA4-44BF-9C9A-5913E7306DF8}" srcOrd="1" destOrd="0" presId="urn:microsoft.com/office/officeart/2005/8/layout/target2"/>
    <dgm:cxn modelId="{033CC482-B5CD-4AF6-88B3-CC370203C1CA}" type="presParOf" srcId="{B29F9E7C-0AA4-44BF-9C9A-5913E7306DF8}" destId="{895068AD-B503-405E-8E49-0EC2DD080936}" srcOrd="0" destOrd="0" presId="urn:microsoft.com/office/officeart/2005/8/layout/target2"/>
    <dgm:cxn modelId="{82AA5DDC-D70F-48FC-8BD0-21046A66A39F}" type="presParOf" srcId="{B29F9E7C-0AA4-44BF-9C9A-5913E7306DF8}" destId="{7044D6CC-51CB-45CC-BB5E-64D557850B28}" srcOrd="1" destOrd="0" presId="urn:microsoft.com/office/officeart/2005/8/layout/target2"/>
    <dgm:cxn modelId="{4E94E196-961F-4916-9FF3-B4C7945BC513}" type="presParOf" srcId="{7044D6CC-51CB-45CC-BB5E-64D557850B28}" destId="{D786D3DB-4C57-41F1-9125-FCFED760E966}" srcOrd="0" destOrd="0" presId="urn:microsoft.com/office/officeart/2005/8/layout/target2"/>
    <dgm:cxn modelId="{8A3FA20F-2A76-4058-B5A9-326DD5380380}" type="presParOf" srcId="{7044D6CC-51CB-45CC-BB5E-64D557850B28}" destId="{790DA0CD-FB48-4902-BF85-641D9957DFCB}" srcOrd="1" destOrd="0" presId="urn:microsoft.com/office/officeart/2005/8/layout/target2"/>
    <dgm:cxn modelId="{2FA3D396-2C65-4408-9BC8-D381D2E3420A}" type="presParOf" srcId="{7044D6CC-51CB-45CC-BB5E-64D557850B28}" destId="{4C1355E5-040F-4831-B300-B342063BA564}" srcOrd="2" destOrd="0" presId="urn:microsoft.com/office/officeart/2005/8/layout/target2"/>
    <dgm:cxn modelId="{B6A2F388-079C-4D11-A584-20E21F9E180C}" type="presParOf" srcId="{C4A0B75F-3130-49E5-92E4-24E277E083BD}" destId="{4230A666-A03F-489E-BB15-A590F6999A16}" srcOrd="2" destOrd="0" presId="urn:microsoft.com/office/officeart/2005/8/layout/target2"/>
    <dgm:cxn modelId="{F8F5BA75-FB6C-4C47-9067-205BB1DA1834}" type="presParOf" srcId="{4230A666-A03F-489E-BB15-A590F6999A16}" destId="{6EB97C69-8D6A-432B-911E-1E87B3FE34ED}" srcOrd="0" destOrd="0" presId="urn:microsoft.com/office/officeart/2005/8/layout/targe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797E95E-A9A3-4E5F-BE5C-5CA0C4E2FB12}" type="doc">
      <dgm:prSet loTypeId="urn:microsoft.com/office/officeart/2005/8/layout/venn1" loCatId="relationship" qsTypeId="urn:microsoft.com/office/officeart/2005/8/quickstyle/simple5" qsCatId="simple" csTypeId="urn:microsoft.com/office/officeart/2005/8/colors/colorful3" csCatId="colorful" phldr="1"/>
      <dgm:spPr/>
    </dgm:pt>
    <dgm:pt modelId="{F545C515-8E69-4F44-BC69-FAA627D76A51}">
      <dgm:prSet phldrT="[Texto]" custT="1"/>
      <dgm:spPr/>
      <dgm:t>
        <a:bodyPr/>
        <a:lstStyle/>
        <a:p>
          <a:r>
            <a:rPr lang="es-ES" sz="2000" b="1" dirty="0" smtClean="0"/>
            <a:t>Profesionales</a:t>
          </a:r>
        </a:p>
        <a:p>
          <a:r>
            <a:rPr lang="es-ES" sz="2000" b="1" dirty="0" smtClean="0"/>
            <a:t>Multidisciplinarios</a:t>
          </a:r>
          <a:r>
            <a:rPr lang="es-ES" sz="1600" b="1" dirty="0" smtClean="0"/>
            <a:t> de MINSAL </a:t>
          </a:r>
          <a:r>
            <a:rPr lang="es-ES" sz="1600" b="1" dirty="0"/>
            <a:t>(5</a:t>
          </a:r>
          <a:r>
            <a:rPr lang="es-ES" sz="2000" b="1" dirty="0"/>
            <a:t>)</a:t>
          </a:r>
        </a:p>
      </dgm:t>
    </dgm:pt>
    <dgm:pt modelId="{8B7E81C2-C865-464F-9DB5-03BAF31A649B}" type="parTrans" cxnId="{0D1B1E6A-88B0-45BD-9B34-7E26FCB03D2A}">
      <dgm:prSet/>
      <dgm:spPr/>
      <dgm:t>
        <a:bodyPr/>
        <a:lstStyle/>
        <a:p>
          <a:endParaRPr lang="es-ES"/>
        </a:p>
      </dgm:t>
    </dgm:pt>
    <dgm:pt modelId="{515DEC84-E640-4810-A169-F47BD6749E9D}" type="sibTrans" cxnId="{0D1B1E6A-88B0-45BD-9B34-7E26FCB03D2A}">
      <dgm:prSet/>
      <dgm:spPr/>
      <dgm:t>
        <a:bodyPr/>
        <a:lstStyle/>
        <a:p>
          <a:endParaRPr lang="es-ES"/>
        </a:p>
      </dgm:t>
    </dgm:pt>
    <dgm:pt modelId="{5E954285-69D9-4E14-8944-AA1572300212}">
      <dgm:prSet phldrT="[Texto]" custT="1"/>
      <dgm:spPr/>
      <dgm:t>
        <a:bodyPr/>
        <a:lstStyle/>
        <a:p>
          <a:r>
            <a:rPr lang="es-ES" sz="2000" b="1" dirty="0" smtClean="0">
              <a:solidFill>
                <a:schemeClr val="bg1"/>
              </a:solidFill>
            </a:rPr>
            <a:t>Desarrolladores </a:t>
          </a:r>
          <a:r>
            <a:rPr lang="es-ES" sz="2000" b="1" dirty="0">
              <a:solidFill>
                <a:schemeClr val="bg1"/>
              </a:solidFill>
            </a:rPr>
            <a:t>(12)</a:t>
          </a:r>
        </a:p>
      </dgm:t>
    </dgm:pt>
    <dgm:pt modelId="{B7E4E89B-628E-43DE-A513-D81B5B66FE8A}" type="parTrans" cxnId="{FFEA48E0-03A9-47D8-BAF4-8CD6F03A9AB2}">
      <dgm:prSet/>
      <dgm:spPr/>
      <dgm:t>
        <a:bodyPr/>
        <a:lstStyle/>
        <a:p>
          <a:endParaRPr lang="es-ES"/>
        </a:p>
      </dgm:t>
    </dgm:pt>
    <dgm:pt modelId="{216780E2-5E37-4DA1-95F7-BBEDD357DEC6}" type="sibTrans" cxnId="{FFEA48E0-03A9-47D8-BAF4-8CD6F03A9AB2}">
      <dgm:prSet/>
      <dgm:spPr/>
      <dgm:t>
        <a:bodyPr/>
        <a:lstStyle/>
        <a:p>
          <a:endParaRPr lang="es-ES"/>
        </a:p>
      </dgm:t>
    </dgm:pt>
    <dgm:pt modelId="{34AB33F1-E2EE-44C5-B7E2-D1388CE00A3C}">
      <dgm:prSet phldrT="[Texto]" custT="1"/>
      <dgm:spPr/>
      <dgm:t>
        <a:bodyPr/>
        <a:lstStyle/>
        <a:p>
          <a:r>
            <a:rPr lang="es-ES" sz="2000" b="1" dirty="0"/>
            <a:t>Mesa de </a:t>
          </a:r>
          <a:r>
            <a:rPr lang="es-ES" sz="2000" b="1" dirty="0" smtClean="0"/>
            <a:t>Ayuda</a:t>
          </a:r>
        </a:p>
        <a:p>
          <a:r>
            <a:rPr lang="es-ES" sz="2000" b="1" dirty="0" smtClean="0"/>
            <a:t>Técnica</a:t>
          </a:r>
        </a:p>
        <a:p>
          <a:r>
            <a:rPr lang="es-ES" sz="2000" b="1" dirty="0" smtClean="0"/>
            <a:t> </a:t>
          </a:r>
          <a:r>
            <a:rPr lang="es-ES" sz="2000" b="1" dirty="0"/>
            <a:t>(3)</a:t>
          </a:r>
        </a:p>
      </dgm:t>
    </dgm:pt>
    <dgm:pt modelId="{092792BB-9842-419C-8141-0466183CB467}" type="parTrans" cxnId="{BFE5B22E-1CC3-4104-AEBE-2421900F9EBF}">
      <dgm:prSet/>
      <dgm:spPr/>
      <dgm:t>
        <a:bodyPr/>
        <a:lstStyle/>
        <a:p>
          <a:endParaRPr lang="es-ES"/>
        </a:p>
      </dgm:t>
    </dgm:pt>
    <dgm:pt modelId="{D22EE24F-1BA6-4F14-8A82-AD312E2D739D}" type="sibTrans" cxnId="{BFE5B22E-1CC3-4104-AEBE-2421900F9EBF}">
      <dgm:prSet/>
      <dgm:spPr/>
      <dgm:t>
        <a:bodyPr/>
        <a:lstStyle/>
        <a:p>
          <a:endParaRPr lang="es-ES"/>
        </a:p>
      </dgm:t>
    </dgm:pt>
    <dgm:pt modelId="{0553F4E9-879A-4A1E-940D-67C8A85EF01F}" type="pres">
      <dgm:prSet presAssocID="{8797E95E-A9A3-4E5F-BE5C-5CA0C4E2FB12}" presName="compositeShape" presStyleCnt="0">
        <dgm:presLayoutVars>
          <dgm:chMax val="7"/>
          <dgm:dir/>
          <dgm:resizeHandles val="exact"/>
        </dgm:presLayoutVars>
      </dgm:prSet>
      <dgm:spPr/>
    </dgm:pt>
    <dgm:pt modelId="{2DFBE2F9-03D1-4CFD-BEFE-0588AD84920C}" type="pres">
      <dgm:prSet presAssocID="{F545C515-8E69-4F44-BC69-FAA627D76A51}" presName="circ1" presStyleLbl="vennNode1" presStyleIdx="0" presStyleCnt="3"/>
      <dgm:spPr/>
      <dgm:t>
        <a:bodyPr/>
        <a:lstStyle/>
        <a:p>
          <a:endParaRPr lang="es-ES"/>
        </a:p>
      </dgm:t>
    </dgm:pt>
    <dgm:pt modelId="{CF51EADE-C8E3-484D-8707-8C7D2739AE4C}" type="pres">
      <dgm:prSet presAssocID="{F545C515-8E69-4F44-BC69-FAA627D76A51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5CB87CC-28C6-4CB1-891B-B2FEF41BA91F}" type="pres">
      <dgm:prSet presAssocID="{5E954285-69D9-4E14-8944-AA1572300212}" presName="circ2" presStyleLbl="vennNode1" presStyleIdx="1" presStyleCnt="3"/>
      <dgm:spPr/>
      <dgm:t>
        <a:bodyPr/>
        <a:lstStyle/>
        <a:p>
          <a:endParaRPr lang="es-ES"/>
        </a:p>
      </dgm:t>
    </dgm:pt>
    <dgm:pt modelId="{D1806693-6736-44D0-846E-35D89435C282}" type="pres">
      <dgm:prSet presAssocID="{5E954285-69D9-4E14-8944-AA1572300212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B8FC8C5-E3B1-4CE7-9349-869C1D5F919C}" type="pres">
      <dgm:prSet presAssocID="{34AB33F1-E2EE-44C5-B7E2-D1388CE00A3C}" presName="circ3" presStyleLbl="vennNode1" presStyleIdx="2" presStyleCnt="3"/>
      <dgm:spPr/>
      <dgm:t>
        <a:bodyPr/>
        <a:lstStyle/>
        <a:p>
          <a:endParaRPr lang="es-ES"/>
        </a:p>
      </dgm:t>
    </dgm:pt>
    <dgm:pt modelId="{6DE0C191-C5D0-4249-8399-E3FB51C36D4B}" type="pres">
      <dgm:prSet presAssocID="{34AB33F1-E2EE-44C5-B7E2-D1388CE00A3C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BFE5B22E-1CC3-4104-AEBE-2421900F9EBF}" srcId="{8797E95E-A9A3-4E5F-BE5C-5CA0C4E2FB12}" destId="{34AB33F1-E2EE-44C5-B7E2-D1388CE00A3C}" srcOrd="2" destOrd="0" parTransId="{092792BB-9842-419C-8141-0466183CB467}" sibTransId="{D22EE24F-1BA6-4F14-8A82-AD312E2D739D}"/>
    <dgm:cxn modelId="{F1986184-D3F1-4727-8953-07566C685587}" type="presOf" srcId="{34AB33F1-E2EE-44C5-B7E2-D1388CE00A3C}" destId="{6DE0C191-C5D0-4249-8399-E3FB51C36D4B}" srcOrd="1" destOrd="0" presId="urn:microsoft.com/office/officeart/2005/8/layout/venn1"/>
    <dgm:cxn modelId="{7ABCF961-9B1E-4E13-997B-199C7500F9B8}" type="presOf" srcId="{34AB33F1-E2EE-44C5-B7E2-D1388CE00A3C}" destId="{9B8FC8C5-E3B1-4CE7-9349-869C1D5F919C}" srcOrd="0" destOrd="0" presId="urn:microsoft.com/office/officeart/2005/8/layout/venn1"/>
    <dgm:cxn modelId="{D46048EA-6783-429B-8133-CD1524B55100}" type="presOf" srcId="{5E954285-69D9-4E14-8944-AA1572300212}" destId="{05CB87CC-28C6-4CB1-891B-B2FEF41BA91F}" srcOrd="0" destOrd="0" presId="urn:microsoft.com/office/officeart/2005/8/layout/venn1"/>
    <dgm:cxn modelId="{4F130D77-8705-46BC-A242-B8BF13D7AC66}" type="presOf" srcId="{8797E95E-A9A3-4E5F-BE5C-5CA0C4E2FB12}" destId="{0553F4E9-879A-4A1E-940D-67C8A85EF01F}" srcOrd="0" destOrd="0" presId="urn:microsoft.com/office/officeart/2005/8/layout/venn1"/>
    <dgm:cxn modelId="{0D1B1E6A-88B0-45BD-9B34-7E26FCB03D2A}" srcId="{8797E95E-A9A3-4E5F-BE5C-5CA0C4E2FB12}" destId="{F545C515-8E69-4F44-BC69-FAA627D76A51}" srcOrd="0" destOrd="0" parTransId="{8B7E81C2-C865-464F-9DB5-03BAF31A649B}" sibTransId="{515DEC84-E640-4810-A169-F47BD6749E9D}"/>
    <dgm:cxn modelId="{248DFABC-AC0D-4115-BDC5-FC4D793150C5}" type="presOf" srcId="{F545C515-8E69-4F44-BC69-FAA627D76A51}" destId="{CF51EADE-C8E3-484D-8707-8C7D2739AE4C}" srcOrd="1" destOrd="0" presId="urn:microsoft.com/office/officeart/2005/8/layout/venn1"/>
    <dgm:cxn modelId="{A219D43C-A2FC-4FEB-93DF-41C6FC7C3471}" type="presOf" srcId="{F545C515-8E69-4F44-BC69-FAA627D76A51}" destId="{2DFBE2F9-03D1-4CFD-BEFE-0588AD84920C}" srcOrd="0" destOrd="0" presId="urn:microsoft.com/office/officeart/2005/8/layout/venn1"/>
    <dgm:cxn modelId="{FFEA48E0-03A9-47D8-BAF4-8CD6F03A9AB2}" srcId="{8797E95E-A9A3-4E5F-BE5C-5CA0C4E2FB12}" destId="{5E954285-69D9-4E14-8944-AA1572300212}" srcOrd="1" destOrd="0" parTransId="{B7E4E89B-628E-43DE-A513-D81B5B66FE8A}" sibTransId="{216780E2-5E37-4DA1-95F7-BBEDD357DEC6}"/>
    <dgm:cxn modelId="{8FD426B1-222A-4265-9E1F-DA5A344DB146}" type="presOf" srcId="{5E954285-69D9-4E14-8944-AA1572300212}" destId="{D1806693-6736-44D0-846E-35D89435C282}" srcOrd="1" destOrd="0" presId="urn:microsoft.com/office/officeart/2005/8/layout/venn1"/>
    <dgm:cxn modelId="{0D6D4CD8-5DD1-468E-8278-CCF0D75C3410}" type="presParOf" srcId="{0553F4E9-879A-4A1E-940D-67C8A85EF01F}" destId="{2DFBE2F9-03D1-4CFD-BEFE-0588AD84920C}" srcOrd="0" destOrd="0" presId="urn:microsoft.com/office/officeart/2005/8/layout/venn1"/>
    <dgm:cxn modelId="{7A1FBE66-A237-4C45-AA18-75F7262A86AD}" type="presParOf" srcId="{0553F4E9-879A-4A1E-940D-67C8A85EF01F}" destId="{CF51EADE-C8E3-484D-8707-8C7D2739AE4C}" srcOrd="1" destOrd="0" presId="urn:microsoft.com/office/officeart/2005/8/layout/venn1"/>
    <dgm:cxn modelId="{BD03D07B-0BBD-4CBD-9BF3-C03D6EF7F5F0}" type="presParOf" srcId="{0553F4E9-879A-4A1E-940D-67C8A85EF01F}" destId="{05CB87CC-28C6-4CB1-891B-B2FEF41BA91F}" srcOrd="2" destOrd="0" presId="urn:microsoft.com/office/officeart/2005/8/layout/venn1"/>
    <dgm:cxn modelId="{FA9E1506-3579-4F39-9EAF-22F7C753EB0F}" type="presParOf" srcId="{0553F4E9-879A-4A1E-940D-67C8A85EF01F}" destId="{D1806693-6736-44D0-846E-35D89435C282}" srcOrd="3" destOrd="0" presId="urn:microsoft.com/office/officeart/2005/8/layout/venn1"/>
    <dgm:cxn modelId="{5C355CC7-E99F-4005-BD86-EF342C0A8B8F}" type="presParOf" srcId="{0553F4E9-879A-4A1E-940D-67C8A85EF01F}" destId="{9B8FC8C5-E3B1-4CE7-9349-869C1D5F919C}" srcOrd="4" destOrd="0" presId="urn:microsoft.com/office/officeart/2005/8/layout/venn1"/>
    <dgm:cxn modelId="{DE58CF21-6458-4D93-9B17-3827D06FB5A2}" type="presParOf" srcId="{0553F4E9-879A-4A1E-940D-67C8A85EF01F}" destId="{6DE0C191-C5D0-4249-8399-E3FB51C36D4B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1FBEED3-01B1-46F3-B957-C11B257F1AE3}" type="doc">
      <dgm:prSet loTypeId="urn:microsoft.com/office/officeart/2005/8/layout/hierarchy3" loCatId="hierarchy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CF0A68FE-74EF-4AA2-9ED9-7B01612DF642}">
      <dgm:prSet phldrT="[Texto]" custT="1"/>
      <dgm:spPr>
        <a:solidFill>
          <a:srgbClr val="009999"/>
        </a:solidFill>
      </dgm:spPr>
      <dgm:t>
        <a:bodyPr/>
        <a:lstStyle/>
        <a:p>
          <a:r>
            <a:rPr lang="es-CL" sz="2000" dirty="0"/>
            <a:t>TRAMITES ASD</a:t>
          </a:r>
        </a:p>
      </dgm:t>
    </dgm:pt>
    <dgm:pt modelId="{E64A07B7-C90A-445E-93B5-B45E2BB98F9F}" type="parTrans" cxnId="{8879D102-A6D4-4E74-A1A5-52BEE2B885FA}">
      <dgm:prSet/>
      <dgm:spPr/>
      <dgm:t>
        <a:bodyPr/>
        <a:lstStyle/>
        <a:p>
          <a:endParaRPr lang="es-CL"/>
        </a:p>
      </dgm:t>
    </dgm:pt>
    <dgm:pt modelId="{5AEAF890-6343-43D3-833D-446C267EA1E1}" type="sibTrans" cxnId="{8879D102-A6D4-4E74-A1A5-52BEE2B885FA}">
      <dgm:prSet/>
      <dgm:spPr/>
      <dgm:t>
        <a:bodyPr/>
        <a:lstStyle/>
        <a:p>
          <a:endParaRPr lang="es-CL"/>
        </a:p>
      </dgm:t>
    </dgm:pt>
    <dgm:pt modelId="{19776E37-EBC8-420B-8C42-4ADFECCD7262}">
      <dgm:prSet phldrT="[Texto]" custT="1"/>
      <dgm:spPr>
        <a:solidFill>
          <a:srgbClr val="D1F7EA">
            <a:alpha val="89804"/>
          </a:srgbClr>
        </a:solidFill>
        <a:ln>
          <a:solidFill>
            <a:srgbClr val="008080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>
            <a:lnSpc>
              <a:spcPct val="100000"/>
            </a:lnSpc>
          </a:pPr>
          <a:r>
            <a:rPr lang="es-CL" sz="1100" b="1" dirty="0" smtClean="0">
              <a:solidFill>
                <a:srgbClr val="1B1B1B"/>
              </a:solidFill>
            </a:rPr>
            <a:t>Formalización: </a:t>
          </a:r>
          <a:r>
            <a:rPr lang="es-CL" sz="1100" b="0" dirty="0" smtClean="0">
              <a:solidFill>
                <a:srgbClr val="1B1B1B"/>
              </a:solidFill>
            </a:rPr>
            <a:t>Acto administrativo donde se certifica que se cumple con los requisitos sanitarios a las instalaciones, personas o procedimientos a través de un pronunciamiento   </a:t>
          </a:r>
          <a:endParaRPr lang="es-CL" sz="1100" b="0" dirty="0">
            <a:solidFill>
              <a:srgbClr val="1B1B1B"/>
            </a:solidFill>
          </a:endParaRPr>
        </a:p>
      </dgm:t>
    </dgm:pt>
    <dgm:pt modelId="{A3E631B7-9209-4F79-8B7D-78DADD695CB6}" type="parTrans" cxnId="{77E5B836-E302-4B03-8D9D-321D20563789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1DFC8BA7-96D2-4B91-8AF1-67D585923E62}" type="sibTrans" cxnId="{77E5B836-E302-4B03-8D9D-321D20563789}">
      <dgm:prSet/>
      <dgm:spPr/>
      <dgm:t>
        <a:bodyPr/>
        <a:lstStyle/>
        <a:p>
          <a:endParaRPr lang="es-CL"/>
        </a:p>
      </dgm:t>
    </dgm:pt>
    <dgm:pt modelId="{145DC95C-343A-4833-828F-640ECE557A3C}">
      <dgm:prSet phldrT="[Texto]" custT="1"/>
      <dgm:spPr>
        <a:solidFill>
          <a:srgbClr val="FFE2C5">
            <a:alpha val="89804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0" dirty="0" smtClean="0">
              <a:solidFill>
                <a:srgbClr val="1B1B1B"/>
              </a:solidFill>
            </a:rPr>
            <a:t>Vela por la facultad que tiene la autoridad sanitaria sobre el procedimiento de hospitalizaciones psiquiátricas administrativas involuntarias</a:t>
          </a:r>
          <a:endParaRPr lang="es-CL" sz="1100" b="0" dirty="0">
            <a:solidFill>
              <a:srgbClr val="1B1B1B"/>
            </a:solidFill>
          </a:endParaRPr>
        </a:p>
      </dgm:t>
    </dgm:pt>
    <dgm:pt modelId="{1DCA5167-A940-4F7B-9438-7F81018BACA0}" type="parTrans" cxnId="{A471BC58-013B-4DA0-AFF6-D8784BCDD3E2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08A4C67C-F3AE-41D6-BE38-3A89DDEFAEBD}" type="sibTrans" cxnId="{A471BC58-013B-4DA0-AFF6-D8784BCDD3E2}">
      <dgm:prSet/>
      <dgm:spPr/>
      <dgm:t>
        <a:bodyPr/>
        <a:lstStyle/>
        <a:p>
          <a:endParaRPr lang="es-CL"/>
        </a:p>
      </dgm:t>
    </dgm:pt>
    <dgm:pt modelId="{9A2BBAB2-C159-4901-841E-042B80A8B630}">
      <dgm:prSet phldrT="[Texto]" custT="1"/>
      <dgm:spPr>
        <a:solidFill>
          <a:srgbClr val="FFE2C5">
            <a:alpha val="90000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0" dirty="0" smtClean="0">
              <a:solidFill>
                <a:srgbClr val="1B1B1B"/>
              </a:solidFill>
              <a:latin typeface="+mn-lt"/>
            </a:rPr>
            <a:t>Permite el monitoreo de las solicitudes de los establecimientos de salud/lista de espera/hospitalizaciones/alta de las hospitalizaciones psiquiátricas de carácter involuntario</a:t>
          </a:r>
          <a:endParaRPr lang="es-CL" sz="1100" b="0" dirty="0">
            <a:solidFill>
              <a:srgbClr val="1B1B1B"/>
            </a:solidFill>
            <a:latin typeface="+mn-lt"/>
          </a:endParaRPr>
        </a:p>
      </dgm:t>
    </dgm:pt>
    <dgm:pt modelId="{DC38496F-F34A-4653-960F-5BF8B21424EF}" type="parTrans" cxnId="{594C592D-E613-40FC-A690-DF62E0FBC905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68EB307C-59AE-429F-9E36-04ACDA9A891E}" type="sibTrans" cxnId="{594C592D-E613-40FC-A690-DF62E0FBC905}">
      <dgm:prSet/>
      <dgm:spPr/>
      <dgm:t>
        <a:bodyPr/>
        <a:lstStyle/>
        <a:p>
          <a:endParaRPr lang="es-CL"/>
        </a:p>
      </dgm:t>
    </dgm:pt>
    <dgm:pt modelId="{8746147D-8DC9-41D2-AF76-E3393A23BB17}">
      <dgm:prSet phldrT="[Texto]" custT="1"/>
      <dgm:spPr>
        <a:solidFill>
          <a:srgbClr val="FF9933"/>
        </a:solidFill>
      </dgm:spPr>
      <dgm:t>
        <a:bodyPr/>
        <a:lstStyle/>
        <a:p>
          <a:r>
            <a:rPr lang="es-CL" sz="2000" dirty="0"/>
            <a:t>SALUD MENTAL</a:t>
          </a:r>
        </a:p>
      </dgm:t>
    </dgm:pt>
    <dgm:pt modelId="{0699C35D-9DBD-493E-9B35-13B32D239E2E}" type="sibTrans" cxnId="{E6512D42-E6E4-4A49-AA36-F146703C69EF}">
      <dgm:prSet/>
      <dgm:spPr/>
      <dgm:t>
        <a:bodyPr/>
        <a:lstStyle/>
        <a:p>
          <a:endParaRPr lang="es-CL"/>
        </a:p>
      </dgm:t>
    </dgm:pt>
    <dgm:pt modelId="{9A0210E9-5A8C-4027-B606-6E0EAF96BFF0}" type="parTrans" cxnId="{E6512D42-E6E4-4A49-AA36-F146703C69EF}">
      <dgm:prSet/>
      <dgm:spPr/>
      <dgm:t>
        <a:bodyPr/>
        <a:lstStyle/>
        <a:p>
          <a:endParaRPr lang="es-CL"/>
        </a:p>
      </dgm:t>
    </dgm:pt>
    <dgm:pt modelId="{F9BDD195-9873-4859-9E5A-366D4086EBC9}">
      <dgm:prSet custT="1"/>
      <dgm:spPr>
        <a:solidFill>
          <a:srgbClr val="B233D5"/>
        </a:solidFill>
      </dgm:spPr>
      <dgm:t>
        <a:bodyPr/>
        <a:lstStyle/>
        <a:p>
          <a:r>
            <a:rPr lang="es-CL" sz="2000" dirty="0"/>
            <a:t>RECAUDACIÓN</a:t>
          </a:r>
        </a:p>
      </dgm:t>
    </dgm:pt>
    <dgm:pt modelId="{A89CC6C9-14BA-401B-8443-BE2B227722C5}" type="parTrans" cxnId="{084421BF-DD3B-4890-9D87-C4E1D7C29747}">
      <dgm:prSet/>
      <dgm:spPr/>
      <dgm:t>
        <a:bodyPr/>
        <a:lstStyle/>
        <a:p>
          <a:endParaRPr lang="es-CL"/>
        </a:p>
      </dgm:t>
    </dgm:pt>
    <dgm:pt modelId="{99B011BA-4964-47D2-86CE-3546E15448AC}" type="sibTrans" cxnId="{084421BF-DD3B-4890-9D87-C4E1D7C29747}">
      <dgm:prSet/>
      <dgm:spPr/>
      <dgm:t>
        <a:bodyPr/>
        <a:lstStyle/>
        <a:p>
          <a:endParaRPr lang="es-CL"/>
        </a:p>
      </dgm:t>
    </dgm:pt>
    <dgm:pt modelId="{06866570-9937-4602-80F8-51DB56C03E75}">
      <dgm:prSet custT="1"/>
      <dgm:spPr>
        <a:solidFill>
          <a:srgbClr val="E7E7FF">
            <a:alpha val="89804"/>
          </a:srgbClr>
        </a:solidFill>
        <a:ln>
          <a:solidFill>
            <a:srgbClr val="770EB2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Objetivo: </a:t>
          </a:r>
          <a:r>
            <a:rPr lang="es-CL" sz="1100" b="0" dirty="0" smtClean="0">
              <a:solidFill>
                <a:srgbClr val="1B1B1B"/>
              </a:solidFill>
            </a:rPr>
            <a:t>Control de los ingresos por concepto de aranceles y multas de la autoridad sanitaria</a:t>
          </a:r>
          <a:endParaRPr lang="es-CL" sz="2000" b="0" dirty="0">
            <a:solidFill>
              <a:srgbClr val="1B1B1B"/>
            </a:solidFill>
          </a:endParaRPr>
        </a:p>
      </dgm:t>
    </dgm:pt>
    <dgm:pt modelId="{B784CD62-3076-425C-B3D6-396E8EFD4C85}" type="parTrans" cxnId="{59341204-84A7-49A8-B95D-4B6AAB2309D6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9AEED5E1-2059-4EC2-ABAD-2BA2880E5ED4}" type="sibTrans" cxnId="{59341204-84A7-49A8-B95D-4B6AAB2309D6}">
      <dgm:prSet/>
      <dgm:spPr/>
      <dgm:t>
        <a:bodyPr/>
        <a:lstStyle/>
        <a:p>
          <a:endParaRPr lang="es-CL"/>
        </a:p>
      </dgm:t>
    </dgm:pt>
    <dgm:pt modelId="{D2883BF8-8F9D-4EA2-8AF4-AD8BBBA155D8}">
      <dgm:prSet custT="1"/>
      <dgm:spPr>
        <a:solidFill>
          <a:srgbClr val="E7E7FF">
            <a:alpha val="90000"/>
          </a:srgbClr>
        </a:solidFill>
        <a:ln>
          <a:solidFill>
            <a:srgbClr val="770EB2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Referente: </a:t>
          </a:r>
          <a:r>
            <a:rPr lang="es-CL" sz="1100" b="0" dirty="0">
              <a:solidFill>
                <a:srgbClr val="1B1B1B"/>
              </a:solidFill>
            </a:rPr>
            <a:t>Ámbito finanzas central /DIFAI </a:t>
          </a:r>
        </a:p>
      </dgm:t>
    </dgm:pt>
    <dgm:pt modelId="{0076D393-258B-411F-9E1B-45EEB92551EE}" type="parTrans" cxnId="{5E86D010-5A1C-49FC-8919-E63C3A0F4C8E}">
      <dgm:prSet/>
      <dgm:spPr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endParaRPr lang="es-CL"/>
        </a:p>
      </dgm:t>
    </dgm:pt>
    <dgm:pt modelId="{091B76C2-98AD-4FDC-9433-2E707496C7E7}" type="sibTrans" cxnId="{5E86D010-5A1C-49FC-8919-E63C3A0F4C8E}">
      <dgm:prSet/>
      <dgm:spPr/>
      <dgm:t>
        <a:bodyPr/>
        <a:lstStyle/>
        <a:p>
          <a:endParaRPr lang="es-CL"/>
        </a:p>
      </dgm:t>
    </dgm:pt>
    <dgm:pt modelId="{F9B2E840-DE88-441B-8F8F-A2DE66ED0633}">
      <dgm:prSet custT="1"/>
      <dgm:spPr>
        <a:solidFill>
          <a:srgbClr val="D1F7EA">
            <a:alpha val="90000"/>
          </a:srgbClr>
        </a:solidFill>
        <a:ln>
          <a:solidFill>
            <a:srgbClr val="008080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Referente: </a:t>
          </a:r>
          <a:r>
            <a:rPr lang="es-CL" sz="1100" b="0" dirty="0">
              <a:solidFill>
                <a:srgbClr val="1B1B1B"/>
              </a:solidFill>
            </a:rPr>
            <a:t>Sus referentes pertenecen a DIPOL </a:t>
          </a:r>
        </a:p>
      </dgm:t>
    </dgm:pt>
    <dgm:pt modelId="{9521B682-538C-4B7C-8D37-8F635E3CEDCF}" type="parTrans" cxnId="{9488A6F3-A97B-4440-8CCF-1D1C8498DB65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C0B8BDFE-6B71-412F-87BA-AE560DB88854}" type="sibTrans" cxnId="{9488A6F3-A97B-4440-8CCF-1D1C8498DB65}">
      <dgm:prSet/>
      <dgm:spPr/>
      <dgm:t>
        <a:bodyPr/>
        <a:lstStyle/>
        <a:p>
          <a:endParaRPr lang="es-CL"/>
        </a:p>
      </dgm:t>
    </dgm:pt>
    <dgm:pt modelId="{79272D6E-260D-4233-BB8C-2615A79B2370}">
      <dgm:prSet custT="1"/>
      <dgm:spPr>
        <a:solidFill>
          <a:srgbClr val="FFE2C5">
            <a:alpha val="90000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Referente: </a:t>
          </a:r>
          <a:r>
            <a:rPr lang="es-CL" sz="1100" b="0" dirty="0">
              <a:solidFill>
                <a:srgbClr val="1B1B1B"/>
              </a:solidFill>
            </a:rPr>
            <a:t>Departamento Salud Mental / DIPRECE</a:t>
          </a:r>
          <a:endParaRPr lang="es-CL" sz="2000" b="0" dirty="0">
            <a:solidFill>
              <a:srgbClr val="1B1B1B"/>
            </a:solidFill>
          </a:endParaRPr>
        </a:p>
      </dgm:t>
    </dgm:pt>
    <dgm:pt modelId="{DCC9AE9E-E07F-4170-A9FA-84A7499D7727}" type="parTrans" cxnId="{2FCEB088-16D6-47CC-8CDA-D10E0FE24B49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071D1648-D77A-43D6-BA13-C7FC8C12C3C7}" type="sibTrans" cxnId="{2FCEB088-16D6-47CC-8CDA-D10E0FE24B49}">
      <dgm:prSet/>
      <dgm:spPr/>
      <dgm:t>
        <a:bodyPr/>
        <a:lstStyle/>
        <a:p>
          <a:endParaRPr lang="es-CL"/>
        </a:p>
      </dgm:t>
    </dgm:pt>
    <dgm:pt modelId="{C56710DF-7A83-4F98-B90E-671C2AA7E0FD}">
      <dgm:prSet custT="1"/>
      <dgm:spPr>
        <a:solidFill>
          <a:srgbClr val="D1F7EA">
            <a:alpha val="90000"/>
          </a:srgbClr>
        </a:solidFill>
        <a:ln>
          <a:solidFill>
            <a:srgbClr val="008080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Impacto (+): </a:t>
          </a:r>
          <a:r>
            <a:rPr lang="es-CL" sz="1100" b="0" dirty="0">
              <a:solidFill>
                <a:srgbClr val="1B1B1B"/>
              </a:solidFill>
            </a:rPr>
            <a:t>Digitalización de trámites de la autoridad sanitaria  </a:t>
          </a:r>
        </a:p>
      </dgm:t>
    </dgm:pt>
    <dgm:pt modelId="{ADB013F8-898F-4BBA-9FDB-6B9AEDAC8C5C}" type="parTrans" cxnId="{8D50B8C6-C59D-4809-B6C7-D2A414E53476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2006F637-53B8-4FE9-8CE1-A388B5E2D5B6}" type="sibTrans" cxnId="{8D50B8C6-C59D-4809-B6C7-D2A414E53476}">
      <dgm:prSet/>
      <dgm:spPr/>
      <dgm:t>
        <a:bodyPr/>
        <a:lstStyle/>
        <a:p>
          <a:endParaRPr lang="es-CL"/>
        </a:p>
      </dgm:t>
    </dgm:pt>
    <dgm:pt modelId="{D25524BB-BA01-4625-A17E-1375E25926A9}">
      <dgm:prSet custT="1"/>
      <dgm:spPr>
        <a:solidFill>
          <a:srgbClr val="E7E7FF">
            <a:alpha val="90000"/>
          </a:srgbClr>
        </a:solidFill>
        <a:ln>
          <a:solidFill>
            <a:srgbClr val="770EB2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Impacto </a:t>
          </a:r>
          <a:r>
            <a:rPr lang="es-CL" sz="1100" b="1" dirty="0" smtClean="0">
              <a:solidFill>
                <a:srgbClr val="1B1B1B"/>
              </a:solidFill>
            </a:rPr>
            <a:t>(+):2018</a:t>
          </a:r>
        </a:p>
        <a:p>
          <a:pPr algn="ctr"/>
          <a:r>
            <a:rPr lang="es-ES" sz="1200" b="1" dirty="0" smtClean="0">
              <a:solidFill>
                <a:srgbClr val="1B1B1B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$35.585.737.400 </a:t>
          </a:r>
          <a:endParaRPr lang="es-CL" sz="1200" b="0" dirty="0">
            <a:solidFill>
              <a:srgbClr val="1B1B1B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7642F327-1072-4DD7-8085-E4BEF0F7CEF6}" type="parTrans" cxnId="{14FE2990-FBFB-4DD4-85C4-3C412A17E776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F0379A5C-83CD-400E-BCC1-D6666301BB20}" type="sibTrans" cxnId="{14FE2990-FBFB-4DD4-85C4-3C412A17E776}">
      <dgm:prSet/>
      <dgm:spPr/>
      <dgm:t>
        <a:bodyPr/>
        <a:lstStyle/>
        <a:p>
          <a:endParaRPr lang="es-CL"/>
        </a:p>
      </dgm:t>
    </dgm:pt>
    <dgm:pt modelId="{0EF02B3D-83A1-4FFD-9A2F-B47840B73872}">
      <dgm:prSet phldrT="[Texto]"/>
      <dgm:spPr>
        <a:solidFill>
          <a:schemeClr val="accent3"/>
        </a:solidFill>
      </dgm:spPr>
      <dgm:t>
        <a:bodyPr/>
        <a:lstStyle/>
        <a:p>
          <a:r>
            <a:rPr lang="es-CL" dirty="0"/>
            <a:t>MORDEDORES</a:t>
          </a:r>
        </a:p>
      </dgm:t>
    </dgm:pt>
    <dgm:pt modelId="{4850EE69-15BE-4D5B-80D3-CC9D2E4DD202}" type="parTrans" cxnId="{A15A636A-D352-4DCF-BA62-3F9090E6744D}">
      <dgm:prSet/>
      <dgm:spPr/>
      <dgm:t>
        <a:bodyPr/>
        <a:lstStyle/>
        <a:p>
          <a:endParaRPr lang="es-ES"/>
        </a:p>
      </dgm:t>
    </dgm:pt>
    <dgm:pt modelId="{811107CF-E72B-46D2-A73C-4BF41D68B7EB}" type="sibTrans" cxnId="{A15A636A-D352-4DCF-BA62-3F9090E6744D}">
      <dgm:prSet/>
      <dgm:spPr/>
      <dgm:t>
        <a:bodyPr/>
        <a:lstStyle/>
        <a:p>
          <a:endParaRPr lang="es-ES"/>
        </a:p>
      </dgm:t>
    </dgm:pt>
    <dgm:pt modelId="{25E13BD1-56C0-42FE-BA2F-BEAAB3C503DF}">
      <dgm:prSet phldrT="[Texto]" custT="1"/>
      <dgm:spPr>
        <a:solidFill>
          <a:schemeClr val="accent3">
            <a:lumMod val="20000"/>
            <a:lumOff val="80000"/>
          </a:scheme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Objetivo: </a:t>
          </a:r>
          <a:r>
            <a:rPr lang="es-CL" sz="1100" b="1" dirty="0" smtClean="0">
              <a:solidFill>
                <a:srgbClr val="1B1B1B"/>
              </a:solidFill>
            </a:rPr>
            <a:t>Vigilancia de la rabia: </a:t>
          </a:r>
          <a:r>
            <a:rPr lang="es-CL" sz="1100" b="0" dirty="0" smtClean="0">
              <a:solidFill>
                <a:srgbClr val="1B1B1B"/>
              </a:solidFill>
            </a:rPr>
            <a:t>Permite el registro de notificación de las mordeduras por los establecimientos de salud.</a:t>
          </a:r>
          <a:endParaRPr lang="es-CL" sz="1100" b="0" dirty="0">
            <a:solidFill>
              <a:srgbClr val="1B1B1B"/>
            </a:solidFill>
          </a:endParaRPr>
        </a:p>
      </dgm:t>
    </dgm:pt>
    <dgm:pt modelId="{1E5F0F43-65C0-4966-8B94-68557E8A8FD2}" type="parTrans" cxnId="{D3AF7A4D-D5F4-47D8-89C8-5158F758A0B5}">
      <dgm:prSet/>
      <dgm:spPr>
        <a:solidFill>
          <a:schemeClr val="tx1">
            <a:lumMod val="65000"/>
          </a:schemeClr>
        </a:solidFill>
      </dgm:spPr>
      <dgm:t>
        <a:bodyPr/>
        <a:lstStyle/>
        <a:p>
          <a:endParaRPr lang="es-ES"/>
        </a:p>
      </dgm:t>
    </dgm:pt>
    <dgm:pt modelId="{7A023CD7-1392-47DC-8282-82672F3B8E94}" type="sibTrans" cxnId="{D3AF7A4D-D5F4-47D8-89C8-5158F758A0B5}">
      <dgm:prSet/>
      <dgm:spPr/>
      <dgm:t>
        <a:bodyPr/>
        <a:lstStyle/>
        <a:p>
          <a:endParaRPr lang="es-ES"/>
        </a:p>
      </dgm:t>
    </dgm:pt>
    <dgm:pt modelId="{0652A6FA-76B7-41E1-B1A3-B5123CD36F17}">
      <dgm:prSet phldrT="[Texto]" custT="1"/>
      <dgm:spPr>
        <a:solidFill>
          <a:schemeClr val="accent3">
            <a:lumMod val="20000"/>
            <a:lumOff val="80000"/>
          </a:scheme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0" dirty="0" smtClean="0">
              <a:solidFill>
                <a:srgbClr val="1B1B1B"/>
              </a:solidFill>
              <a:latin typeface="+mn-lt"/>
            </a:rPr>
            <a:t>El registro de la observación del animal mordedor vista en terreno con una aplicación móvil</a:t>
          </a:r>
          <a:endParaRPr lang="es-CL" sz="1100" dirty="0">
            <a:solidFill>
              <a:srgbClr val="1B1B1B"/>
            </a:solidFill>
            <a:latin typeface="+mn-lt"/>
          </a:endParaRPr>
        </a:p>
      </dgm:t>
    </dgm:pt>
    <dgm:pt modelId="{08100822-BC5B-4759-A7E9-192366A480EC}" type="parTrans" cxnId="{9E90FAA3-508C-4730-99DB-54D644437BB6}">
      <dgm:prSet/>
      <dgm:spPr/>
      <dgm:t>
        <a:bodyPr/>
        <a:lstStyle/>
        <a:p>
          <a:endParaRPr lang="es-ES"/>
        </a:p>
      </dgm:t>
    </dgm:pt>
    <dgm:pt modelId="{6EFF2A5B-9495-4B97-B181-9FFD9E1CE878}" type="sibTrans" cxnId="{9E90FAA3-508C-4730-99DB-54D644437BB6}">
      <dgm:prSet/>
      <dgm:spPr/>
      <dgm:t>
        <a:bodyPr/>
        <a:lstStyle/>
        <a:p>
          <a:endParaRPr lang="es-ES"/>
        </a:p>
      </dgm:t>
    </dgm:pt>
    <dgm:pt modelId="{520B5CD5-F714-4B4A-B448-3DC58E282121}">
      <dgm:prSet custT="1"/>
      <dgm:spPr>
        <a:solidFill>
          <a:schemeClr val="accent3">
            <a:lumMod val="20000"/>
            <a:lumOff val="80000"/>
          </a:scheme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0" dirty="0" smtClean="0">
              <a:solidFill>
                <a:srgbClr val="1B1B1B"/>
              </a:solidFill>
            </a:rPr>
            <a:t>Control de vacunas </a:t>
          </a:r>
          <a:r>
            <a:rPr lang="es-CL" sz="1100" b="0" dirty="0" err="1" smtClean="0">
              <a:solidFill>
                <a:srgbClr val="1B1B1B"/>
              </a:solidFill>
            </a:rPr>
            <a:t>antirrabicas</a:t>
          </a:r>
          <a:endParaRPr lang="es-CL" sz="1100" b="0" dirty="0">
            <a:solidFill>
              <a:srgbClr val="1B1B1B"/>
            </a:solidFill>
          </a:endParaRPr>
        </a:p>
      </dgm:t>
    </dgm:pt>
    <dgm:pt modelId="{FDF90672-9DCC-49A1-88EC-47C6EE561620}" type="parTrans" cxnId="{C75D838A-86D1-4B65-8930-1949EE676174}">
      <dgm:prSet/>
      <dgm:spPr>
        <a:solidFill>
          <a:schemeClr val="tx1">
            <a:lumMod val="65000"/>
          </a:schemeClr>
        </a:solidFill>
      </dgm:spPr>
      <dgm:t>
        <a:bodyPr/>
        <a:lstStyle/>
        <a:p>
          <a:endParaRPr lang="es-ES"/>
        </a:p>
      </dgm:t>
    </dgm:pt>
    <dgm:pt modelId="{D233F710-192A-459E-BA1E-4B4627B47C7D}" type="sibTrans" cxnId="{C75D838A-86D1-4B65-8930-1949EE676174}">
      <dgm:prSet/>
      <dgm:spPr/>
      <dgm:t>
        <a:bodyPr/>
        <a:lstStyle/>
        <a:p>
          <a:endParaRPr lang="es-ES"/>
        </a:p>
      </dgm:t>
    </dgm:pt>
    <dgm:pt modelId="{ADD12BED-F60A-4423-9A67-D1C09AA09E3B}">
      <dgm:prSet custT="1"/>
      <dgm:spPr>
        <a:solidFill>
          <a:schemeClr val="accent3">
            <a:lumMod val="20000"/>
            <a:lumOff val="80000"/>
          </a:scheme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 smtClean="0">
              <a:solidFill>
                <a:srgbClr val="1B1B1B"/>
              </a:solidFill>
            </a:rPr>
            <a:t>Zoonosis: </a:t>
          </a:r>
          <a:r>
            <a:rPr lang="es-CL" sz="1100" b="0" dirty="0" smtClean="0">
              <a:solidFill>
                <a:srgbClr val="1B1B1B"/>
              </a:solidFill>
            </a:rPr>
            <a:t>Control de foco/registro de enfermedades </a:t>
          </a:r>
          <a:r>
            <a:rPr lang="es-CL" sz="1100" b="0" dirty="0" err="1" smtClean="0">
              <a:solidFill>
                <a:srgbClr val="1B1B1B"/>
              </a:solidFill>
            </a:rPr>
            <a:t>zoonóticas</a:t>
          </a:r>
          <a:r>
            <a:rPr lang="es-CL" sz="1100" b="0" dirty="0" smtClean="0">
              <a:solidFill>
                <a:srgbClr val="1B1B1B"/>
              </a:solidFill>
            </a:rPr>
            <a:t>/control sanitario de vacunas/ interoperabilidad </a:t>
          </a:r>
          <a:r>
            <a:rPr lang="es-CL" sz="1100" b="0" dirty="0" err="1" smtClean="0">
              <a:solidFill>
                <a:srgbClr val="1B1B1B"/>
              </a:solidFill>
            </a:rPr>
            <a:t>segpre</a:t>
          </a:r>
          <a:endParaRPr lang="es-CL" sz="1100" b="0" dirty="0">
            <a:solidFill>
              <a:srgbClr val="1B1B1B"/>
            </a:solidFill>
          </a:endParaRPr>
        </a:p>
      </dgm:t>
    </dgm:pt>
    <dgm:pt modelId="{F2B45D32-39B9-4690-B88E-99730CFCA1C4}" type="parTrans" cxnId="{3BBCF73E-7E5F-4F97-A8E5-EF645B5A97D3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8B5ACE47-F3AF-4EF9-8217-E9256EF969C5}" type="sibTrans" cxnId="{3BBCF73E-7E5F-4F97-A8E5-EF645B5A97D3}">
      <dgm:prSet/>
      <dgm:spPr/>
      <dgm:t>
        <a:bodyPr/>
        <a:lstStyle/>
        <a:p>
          <a:endParaRPr lang="es-ES"/>
        </a:p>
      </dgm:t>
    </dgm:pt>
    <dgm:pt modelId="{9B7985EC-B0EF-4343-B642-77C28343B400}" type="pres">
      <dgm:prSet presAssocID="{C1FBEED3-01B1-46F3-B957-C11B257F1AE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ES"/>
        </a:p>
      </dgm:t>
    </dgm:pt>
    <dgm:pt modelId="{E0EA4377-9324-445C-BE79-82DCA49297B7}" type="pres">
      <dgm:prSet presAssocID="{CF0A68FE-74EF-4AA2-9ED9-7B01612DF642}" presName="root" presStyleCnt="0"/>
      <dgm:spPr/>
    </dgm:pt>
    <dgm:pt modelId="{B65F52D6-B171-48CC-A37C-D69CDDA68680}" type="pres">
      <dgm:prSet presAssocID="{CF0A68FE-74EF-4AA2-9ED9-7B01612DF642}" presName="rootComposite" presStyleCnt="0"/>
      <dgm:spPr/>
    </dgm:pt>
    <dgm:pt modelId="{7A36CD1C-4CDD-455D-9997-CCE8CF7F334A}" type="pres">
      <dgm:prSet presAssocID="{CF0A68FE-74EF-4AA2-9ED9-7B01612DF642}" presName="rootText" presStyleLbl="node1" presStyleIdx="0" presStyleCnt="4" custScaleX="137956" custLinFactNeighborX="6781" custLinFactNeighborY="-28920"/>
      <dgm:spPr/>
      <dgm:t>
        <a:bodyPr/>
        <a:lstStyle/>
        <a:p>
          <a:endParaRPr lang="es-ES"/>
        </a:p>
      </dgm:t>
    </dgm:pt>
    <dgm:pt modelId="{2F95051D-7999-4B57-B62B-0A8E93ED2CF3}" type="pres">
      <dgm:prSet presAssocID="{CF0A68FE-74EF-4AA2-9ED9-7B01612DF642}" presName="rootConnector" presStyleLbl="node1" presStyleIdx="0" presStyleCnt="4"/>
      <dgm:spPr/>
      <dgm:t>
        <a:bodyPr/>
        <a:lstStyle/>
        <a:p>
          <a:endParaRPr lang="es-ES"/>
        </a:p>
      </dgm:t>
    </dgm:pt>
    <dgm:pt modelId="{90052C28-923F-4976-8A30-1CBD34BA8232}" type="pres">
      <dgm:prSet presAssocID="{CF0A68FE-74EF-4AA2-9ED9-7B01612DF642}" presName="childShape" presStyleCnt="0"/>
      <dgm:spPr/>
    </dgm:pt>
    <dgm:pt modelId="{E0CA4CE8-DF13-4590-987B-E1F14878D0D0}" type="pres">
      <dgm:prSet presAssocID="{A3E631B7-9209-4F79-8B7D-78DADD695CB6}" presName="Name13" presStyleLbl="parChTrans1D2" presStyleIdx="0" presStyleCnt="13"/>
      <dgm:spPr/>
      <dgm:t>
        <a:bodyPr/>
        <a:lstStyle/>
        <a:p>
          <a:endParaRPr lang="es-ES"/>
        </a:p>
      </dgm:t>
    </dgm:pt>
    <dgm:pt modelId="{425CC0D6-A987-4F3E-A514-4EB36E1C05A6}" type="pres">
      <dgm:prSet presAssocID="{19776E37-EBC8-420B-8C42-4ADFECCD7262}" presName="childText" presStyleLbl="bgAcc1" presStyleIdx="0" presStyleCnt="13" custScaleX="140148" custScaleY="194493" custLinFactNeighborX="848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090B7D8-B3E0-4B2F-AFC1-6E82D4E32AFB}" type="pres">
      <dgm:prSet presAssocID="{9521B682-538C-4B7C-8D37-8F635E3CEDCF}" presName="Name13" presStyleLbl="parChTrans1D2" presStyleIdx="1" presStyleCnt="13"/>
      <dgm:spPr/>
      <dgm:t>
        <a:bodyPr/>
        <a:lstStyle/>
        <a:p>
          <a:endParaRPr lang="es-ES"/>
        </a:p>
      </dgm:t>
    </dgm:pt>
    <dgm:pt modelId="{52FB85B1-0560-4612-929C-E666117661C5}" type="pres">
      <dgm:prSet presAssocID="{F9B2E840-DE88-441B-8F8F-A2DE66ED0633}" presName="childText" presStyleLbl="bgAcc1" presStyleIdx="1" presStyleCnt="13" custScaleX="138551" custLinFactNeighborX="8485" custLinFactNeighborY="151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31CFEE3-EF12-4482-A39F-04BAC3EAFDD4}" type="pres">
      <dgm:prSet presAssocID="{ADB013F8-898F-4BBA-9FDB-6B9AEDAC8C5C}" presName="Name13" presStyleLbl="parChTrans1D2" presStyleIdx="2" presStyleCnt="13"/>
      <dgm:spPr/>
      <dgm:t>
        <a:bodyPr/>
        <a:lstStyle/>
        <a:p>
          <a:endParaRPr lang="es-ES"/>
        </a:p>
      </dgm:t>
    </dgm:pt>
    <dgm:pt modelId="{EF2D5B3F-8873-4D01-A72A-E045084A3BEB}" type="pres">
      <dgm:prSet presAssocID="{C56710DF-7A83-4F98-B90E-671C2AA7E0FD}" presName="childText" presStyleLbl="bgAcc1" presStyleIdx="2" presStyleCnt="13" custScaleX="135684" custLinFactNeighborX="848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8A096D9-1EFA-44CE-ABCA-781100FE0571}" type="pres">
      <dgm:prSet presAssocID="{F9BDD195-9873-4859-9E5A-366D4086EBC9}" presName="root" presStyleCnt="0"/>
      <dgm:spPr/>
    </dgm:pt>
    <dgm:pt modelId="{C19C8F78-A25C-447B-AB15-580F4CDF29EF}" type="pres">
      <dgm:prSet presAssocID="{F9BDD195-9873-4859-9E5A-366D4086EBC9}" presName="rootComposite" presStyleCnt="0"/>
      <dgm:spPr/>
    </dgm:pt>
    <dgm:pt modelId="{7B33427B-A5D7-45FA-9C9F-3604B9916F97}" type="pres">
      <dgm:prSet presAssocID="{F9BDD195-9873-4859-9E5A-366D4086EBC9}" presName="rootText" presStyleLbl="node1" presStyleIdx="1" presStyleCnt="4" custScaleX="140431" custLinFactNeighborX="495" custLinFactNeighborY="-28920"/>
      <dgm:spPr/>
      <dgm:t>
        <a:bodyPr/>
        <a:lstStyle/>
        <a:p>
          <a:endParaRPr lang="es-ES"/>
        </a:p>
      </dgm:t>
    </dgm:pt>
    <dgm:pt modelId="{153432B2-7305-4E7F-98B3-29ECE0996D08}" type="pres">
      <dgm:prSet presAssocID="{F9BDD195-9873-4859-9E5A-366D4086EBC9}" presName="rootConnector" presStyleLbl="node1" presStyleIdx="1" presStyleCnt="4"/>
      <dgm:spPr/>
      <dgm:t>
        <a:bodyPr/>
        <a:lstStyle/>
        <a:p>
          <a:endParaRPr lang="es-ES"/>
        </a:p>
      </dgm:t>
    </dgm:pt>
    <dgm:pt modelId="{8D01CE45-FB71-4B2F-8080-03B1F5F4DEB5}" type="pres">
      <dgm:prSet presAssocID="{F9BDD195-9873-4859-9E5A-366D4086EBC9}" presName="childShape" presStyleCnt="0"/>
      <dgm:spPr/>
    </dgm:pt>
    <dgm:pt modelId="{84099D88-DA45-493B-BC00-2EF75A9E221B}" type="pres">
      <dgm:prSet presAssocID="{B784CD62-3076-425C-B3D6-396E8EFD4C85}" presName="Name13" presStyleLbl="parChTrans1D2" presStyleIdx="3" presStyleCnt="13"/>
      <dgm:spPr/>
      <dgm:t>
        <a:bodyPr/>
        <a:lstStyle/>
        <a:p>
          <a:endParaRPr lang="es-ES"/>
        </a:p>
      </dgm:t>
    </dgm:pt>
    <dgm:pt modelId="{1D40BAC0-730F-468C-A268-4CE337B40F55}" type="pres">
      <dgm:prSet presAssocID="{06866570-9937-4602-80F8-51DB56C03E75}" presName="childText" presStyleLbl="bgAcc1" presStyleIdx="3" presStyleCnt="13" custScaleX="110664" custScaleY="132156" custLinFactNeighborX="792" custLinFactNeighborY="-172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D8356AA-4FF3-4C94-86D4-33D7492D9366}" type="pres">
      <dgm:prSet presAssocID="{0076D393-258B-411F-9E1B-45EEB92551EE}" presName="Name13" presStyleLbl="parChTrans1D2" presStyleIdx="4" presStyleCnt="13"/>
      <dgm:spPr/>
      <dgm:t>
        <a:bodyPr/>
        <a:lstStyle/>
        <a:p>
          <a:endParaRPr lang="es-ES"/>
        </a:p>
      </dgm:t>
    </dgm:pt>
    <dgm:pt modelId="{A9500BED-E339-42BC-86E0-49507C8F2259}" type="pres">
      <dgm:prSet presAssocID="{D2883BF8-8F9D-4EA2-8AF4-AD8BBBA155D8}" presName="childText" presStyleLbl="bgAcc1" presStyleIdx="4" presStyleCnt="13" custScaleX="110338" custScaleY="103374" custLinFactNeighborX="-1203" custLinFactNeighborY="-172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094DAF6-161A-48A6-B978-DABD7441AB19}" type="pres">
      <dgm:prSet presAssocID="{7642F327-1072-4DD7-8085-E4BEF0F7CEF6}" presName="Name13" presStyleLbl="parChTrans1D2" presStyleIdx="5" presStyleCnt="13"/>
      <dgm:spPr/>
      <dgm:t>
        <a:bodyPr/>
        <a:lstStyle/>
        <a:p>
          <a:endParaRPr lang="es-ES"/>
        </a:p>
      </dgm:t>
    </dgm:pt>
    <dgm:pt modelId="{AF282591-F9D6-4D71-87B7-F071E96D36ED}" type="pres">
      <dgm:prSet presAssocID="{D25524BB-BA01-4625-A17E-1375E25926A9}" presName="childText" presStyleLbl="bgAcc1" presStyleIdx="5" presStyleCnt="13" custScaleX="114313" custScaleY="95481" custLinFactNeighborX="-3191" custLinFactNeighborY="-172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5D23DC3-E02C-43C3-AF6A-33F3523254CB}" type="pres">
      <dgm:prSet presAssocID="{8746147D-8DC9-41D2-AF76-E3393A23BB17}" presName="root" presStyleCnt="0"/>
      <dgm:spPr/>
    </dgm:pt>
    <dgm:pt modelId="{4C2EB443-896C-4637-8823-9D5A5242112F}" type="pres">
      <dgm:prSet presAssocID="{8746147D-8DC9-41D2-AF76-E3393A23BB17}" presName="rootComposite" presStyleCnt="0"/>
      <dgm:spPr/>
    </dgm:pt>
    <dgm:pt modelId="{4A1F2038-FA57-4AC2-8252-3ACCDA100695}" type="pres">
      <dgm:prSet presAssocID="{8746147D-8DC9-41D2-AF76-E3393A23BB17}" presName="rootText" presStyleLbl="node1" presStyleIdx="2" presStyleCnt="4" custScaleX="109551" custScaleY="102035" custLinFactNeighborX="-7685" custLinFactNeighborY="-28920"/>
      <dgm:spPr/>
      <dgm:t>
        <a:bodyPr/>
        <a:lstStyle/>
        <a:p>
          <a:endParaRPr lang="es-ES"/>
        </a:p>
      </dgm:t>
    </dgm:pt>
    <dgm:pt modelId="{4A494DA0-FA72-44E1-902B-A8B74A7AFC5A}" type="pres">
      <dgm:prSet presAssocID="{8746147D-8DC9-41D2-AF76-E3393A23BB17}" presName="rootConnector" presStyleLbl="node1" presStyleIdx="2" presStyleCnt="4"/>
      <dgm:spPr/>
      <dgm:t>
        <a:bodyPr/>
        <a:lstStyle/>
        <a:p>
          <a:endParaRPr lang="es-ES"/>
        </a:p>
      </dgm:t>
    </dgm:pt>
    <dgm:pt modelId="{B1CED59B-0E8C-4780-AF03-6A8D8134D1DC}" type="pres">
      <dgm:prSet presAssocID="{8746147D-8DC9-41D2-AF76-E3393A23BB17}" presName="childShape" presStyleCnt="0"/>
      <dgm:spPr/>
    </dgm:pt>
    <dgm:pt modelId="{80AEAD2E-F332-49ED-B347-BB757F2051EC}" type="pres">
      <dgm:prSet presAssocID="{1DCA5167-A940-4F7B-9438-7F81018BACA0}" presName="Name13" presStyleLbl="parChTrans1D2" presStyleIdx="6" presStyleCnt="13"/>
      <dgm:spPr/>
      <dgm:t>
        <a:bodyPr/>
        <a:lstStyle/>
        <a:p>
          <a:endParaRPr lang="es-ES"/>
        </a:p>
      </dgm:t>
    </dgm:pt>
    <dgm:pt modelId="{514CCD24-1E2C-453D-BF22-88DF87AF73A9}" type="pres">
      <dgm:prSet presAssocID="{145DC95C-343A-4833-828F-640ECE557A3C}" presName="childText" presStyleLbl="bgAcc1" presStyleIdx="6" presStyleCnt="13" custScaleX="121586" custScaleY="184359" custLinFactNeighborX="-7763" custLinFactNeighborY="-151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C4AE9B6-DFD3-48C1-9A53-5B6F93D311A8}" type="pres">
      <dgm:prSet presAssocID="{DC38496F-F34A-4653-960F-5BF8B21424EF}" presName="Name13" presStyleLbl="parChTrans1D2" presStyleIdx="7" presStyleCnt="13"/>
      <dgm:spPr/>
      <dgm:t>
        <a:bodyPr/>
        <a:lstStyle/>
        <a:p>
          <a:endParaRPr lang="es-ES"/>
        </a:p>
      </dgm:t>
    </dgm:pt>
    <dgm:pt modelId="{B3A7663D-4801-4EEA-BC36-9D7BE3DC1324}" type="pres">
      <dgm:prSet presAssocID="{9A2BBAB2-C159-4901-841E-042B80A8B630}" presName="childText" presStyleLbl="bgAcc1" presStyleIdx="7" presStyleCnt="13" custScaleX="122741" custScaleY="193255" custLinFactNeighborX="-5735" custLinFactNeighborY="16329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53F0568-A673-45CB-95BE-4F77D8A4A58F}" type="pres">
      <dgm:prSet presAssocID="{DCC9AE9E-E07F-4170-A9FA-84A7499D7727}" presName="Name13" presStyleLbl="parChTrans1D2" presStyleIdx="8" presStyleCnt="13"/>
      <dgm:spPr/>
      <dgm:t>
        <a:bodyPr/>
        <a:lstStyle/>
        <a:p>
          <a:endParaRPr lang="es-ES"/>
        </a:p>
      </dgm:t>
    </dgm:pt>
    <dgm:pt modelId="{2BC3C2DE-9EAD-4869-A336-94FDD377E048}" type="pres">
      <dgm:prSet presAssocID="{79272D6E-260D-4233-BB8C-2615A79B2370}" presName="childText" presStyleLbl="bgAcc1" presStyleIdx="8" presStyleCnt="13" custScaleX="119584" custScaleY="103413" custLinFactNeighborX="-5239" custLinFactNeighborY="2339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263971E-A094-4BE1-B6FF-B01FD356816F}" type="pres">
      <dgm:prSet presAssocID="{0EF02B3D-83A1-4FFD-9A2F-B47840B73872}" presName="root" presStyleCnt="0"/>
      <dgm:spPr/>
    </dgm:pt>
    <dgm:pt modelId="{99861FEE-40ED-4928-B757-A2A60C7294F7}" type="pres">
      <dgm:prSet presAssocID="{0EF02B3D-83A1-4FFD-9A2F-B47840B73872}" presName="rootComposite" presStyleCnt="0"/>
      <dgm:spPr/>
    </dgm:pt>
    <dgm:pt modelId="{1E16444F-7FBB-4384-AD05-F603ADBD0287}" type="pres">
      <dgm:prSet presAssocID="{0EF02B3D-83A1-4FFD-9A2F-B47840B73872}" presName="rootText" presStyleLbl="node1" presStyleIdx="3" presStyleCnt="4" custScaleX="115321" custScaleY="97518" custLinFactNeighborX="-10112" custLinFactNeighborY="-28920"/>
      <dgm:spPr/>
      <dgm:t>
        <a:bodyPr/>
        <a:lstStyle/>
        <a:p>
          <a:endParaRPr lang="es-ES"/>
        </a:p>
      </dgm:t>
    </dgm:pt>
    <dgm:pt modelId="{C6B16B97-322B-4EFB-9025-80A8D081D67C}" type="pres">
      <dgm:prSet presAssocID="{0EF02B3D-83A1-4FFD-9A2F-B47840B73872}" presName="rootConnector" presStyleLbl="node1" presStyleIdx="3" presStyleCnt="4"/>
      <dgm:spPr/>
      <dgm:t>
        <a:bodyPr/>
        <a:lstStyle/>
        <a:p>
          <a:endParaRPr lang="es-ES"/>
        </a:p>
      </dgm:t>
    </dgm:pt>
    <dgm:pt modelId="{694019B7-50B2-4D69-AC56-1900471865C6}" type="pres">
      <dgm:prSet presAssocID="{0EF02B3D-83A1-4FFD-9A2F-B47840B73872}" presName="childShape" presStyleCnt="0"/>
      <dgm:spPr/>
    </dgm:pt>
    <dgm:pt modelId="{3468509C-395C-4CAA-8031-56300B0F5235}" type="pres">
      <dgm:prSet presAssocID="{1E5F0F43-65C0-4966-8B94-68557E8A8FD2}" presName="Name13" presStyleLbl="parChTrans1D2" presStyleIdx="9" presStyleCnt="13"/>
      <dgm:spPr/>
      <dgm:t>
        <a:bodyPr/>
        <a:lstStyle/>
        <a:p>
          <a:endParaRPr lang="es-ES"/>
        </a:p>
      </dgm:t>
    </dgm:pt>
    <dgm:pt modelId="{32CF6715-6666-40F0-95F7-7B160E03C7CC}" type="pres">
      <dgm:prSet presAssocID="{25E13BD1-56C0-42FE-BA2F-BEAAB3C503DF}" presName="childText" presStyleLbl="bgAcc1" presStyleIdx="9" presStyleCnt="13" custScaleX="128382" custScaleY="115875" custLinFactNeighborX="-13811" custLinFactNeighborY="93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6304A66-8EF0-46E0-A0F4-2DF3234AD846}" type="pres">
      <dgm:prSet presAssocID="{08100822-BC5B-4759-A7E9-192366A480EC}" presName="Name13" presStyleLbl="parChTrans1D2" presStyleIdx="10" presStyleCnt="13"/>
      <dgm:spPr/>
      <dgm:t>
        <a:bodyPr/>
        <a:lstStyle/>
        <a:p>
          <a:endParaRPr lang="es-ES"/>
        </a:p>
      </dgm:t>
    </dgm:pt>
    <dgm:pt modelId="{39EB9B09-F3A1-4BBA-BC84-08C74AB13F65}" type="pres">
      <dgm:prSet presAssocID="{0652A6FA-76B7-41E1-B1A3-B5123CD36F17}" presName="childText" presStyleLbl="bgAcc1" presStyleIdx="10" presStyleCnt="13" custScaleX="130083" custScaleY="127368" custLinFactNeighborX="-13130" custLinFactNeighborY="9359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1A0268F-B372-4F1C-BDD7-D8778538F1BD}" type="pres">
      <dgm:prSet presAssocID="{FDF90672-9DCC-49A1-88EC-47C6EE561620}" presName="Name13" presStyleLbl="parChTrans1D2" presStyleIdx="11" presStyleCnt="13"/>
      <dgm:spPr/>
      <dgm:t>
        <a:bodyPr/>
        <a:lstStyle/>
        <a:p>
          <a:endParaRPr lang="es-ES"/>
        </a:p>
      </dgm:t>
    </dgm:pt>
    <dgm:pt modelId="{6BBB35D1-D584-4E83-ACBD-497A735838F3}" type="pres">
      <dgm:prSet presAssocID="{520B5CD5-F714-4B4A-B448-3DC58E282121}" presName="childText" presStyleLbl="bgAcc1" presStyleIdx="11" presStyleCnt="13" custScaleX="124616" custLinFactNeighborX="-12035" custLinFactNeighborY="1263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905323C-1E59-4D05-AA1E-B7EE7C23098B}" type="pres">
      <dgm:prSet presAssocID="{F2B45D32-39B9-4690-B88E-99730CFCA1C4}" presName="Name13" presStyleLbl="parChTrans1D2" presStyleIdx="12" presStyleCnt="13"/>
      <dgm:spPr/>
      <dgm:t>
        <a:bodyPr/>
        <a:lstStyle/>
        <a:p>
          <a:endParaRPr lang="es-ES"/>
        </a:p>
      </dgm:t>
    </dgm:pt>
    <dgm:pt modelId="{41871421-70EC-4E35-ACE6-5F0BE47759C5}" type="pres">
      <dgm:prSet presAssocID="{ADD12BED-F60A-4423-9A67-D1C09AA09E3B}" presName="childText" presStyleLbl="bgAcc1" presStyleIdx="12" presStyleCnt="13" custScaleX="129020" custScaleY="145836" custLinFactNeighborX="-14237" custLinFactNeighborY="9449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8977672D-D4C7-4C53-B7ED-7823D7954898}" type="presOf" srcId="{25E13BD1-56C0-42FE-BA2F-BEAAB3C503DF}" destId="{32CF6715-6666-40F0-95F7-7B160E03C7CC}" srcOrd="0" destOrd="0" presId="urn:microsoft.com/office/officeart/2005/8/layout/hierarchy3"/>
    <dgm:cxn modelId="{BB081215-FA1A-4D7C-88AA-3D800D80FF0B}" type="presOf" srcId="{08100822-BC5B-4759-A7E9-192366A480EC}" destId="{46304A66-8EF0-46E0-A0F4-2DF3234AD846}" srcOrd="0" destOrd="0" presId="urn:microsoft.com/office/officeart/2005/8/layout/hierarchy3"/>
    <dgm:cxn modelId="{CEFEB98B-2849-4D21-B7E6-02FCDD8AA790}" type="presOf" srcId="{8746147D-8DC9-41D2-AF76-E3393A23BB17}" destId="{4A1F2038-FA57-4AC2-8252-3ACCDA100695}" srcOrd="0" destOrd="0" presId="urn:microsoft.com/office/officeart/2005/8/layout/hierarchy3"/>
    <dgm:cxn modelId="{084421BF-DD3B-4890-9D87-C4E1D7C29747}" srcId="{C1FBEED3-01B1-46F3-B957-C11B257F1AE3}" destId="{F9BDD195-9873-4859-9E5A-366D4086EBC9}" srcOrd="1" destOrd="0" parTransId="{A89CC6C9-14BA-401B-8443-BE2B227722C5}" sibTransId="{99B011BA-4964-47D2-86CE-3546E15448AC}"/>
    <dgm:cxn modelId="{14FE2990-FBFB-4DD4-85C4-3C412A17E776}" srcId="{F9BDD195-9873-4859-9E5A-366D4086EBC9}" destId="{D25524BB-BA01-4625-A17E-1375E25926A9}" srcOrd="2" destOrd="0" parTransId="{7642F327-1072-4DD7-8085-E4BEF0F7CEF6}" sibTransId="{F0379A5C-83CD-400E-BCC1-D6666301BB20}"/>
    <dgm:cxn modelId="{E7306793-30D2-405B-AFAB-6424D25B55E0}" type="presOf" srcId="{C1FBEED3-01B1-46F3-B957-C11B257F1AE3}" destId="{9B7985EC-B0EF-4343-B642-77C28343B400}" srcOrd="0" destOrd="0" presId="urn:microsoft.com/office/officeart/2005/8/layout/hierarchy3"/>
    <dgm:cxn modelId="{CB1F206E-AD83-4FED-9A2A-E19FD1E83D1B}" type="presOf" srcId="{B784CD62-3076-425C-B3D6-396E8EFD4C85}" destId="{84099D88-DA45-493B-BC00-2EF75A9E221B}" srcOrd="0" destOrd="0" presId="urn:microsoft.com/office/officeart/2005/8/layout/hierarchy3"/>
    <dgm:cxn modelId="{EA0149BF-E12D-4B9F-98FA-683D9BEDA336}" type="presOf" srcId="{DC38496F-F34A-4653-960F-5BF8B21424EF}" destId="{AC4AE9B6-DFD3-48C1-9A53-5B6F93D311A8}" srcOrd="0" destOrd="0" presId="urn:microsoft.com/office/officeart/2005/8/layout/hierarchy3"/>
    <dgm:cxn modelId="{52EA1105-0CCB-42CF-997E-6107221893D8}" type="presOf" srcId="{D2883BF8-8F9D-4EA2-8AF4-AD8BBBA155D8}" destId="{A9500BED-E339-42BC-86E0-49507C8F2259}" srcOrd="0" destOrd="0" presId="urn:microsoft.com/office/officeart/2005/8/layout/hierarchy3"/>
    <dgm:cxn modelId="{3BBCF73E-7E5F-4F97-A8E5-EF645B5A97D3}" srcId="{0EF02B3D-83A1-4FFD-9A2F-B47840B73872}" destId="{ADD12BED-F60A-4423-9A67-D1C09AA09E3B}" srcOrd="3" destOrd="0" parTransId="{F2B45D32-39B9-4690-B88E-99730CFCA1C4}" sibTransId="{8B5ACE47-F3AF-4EF9-8217-E9256EF969C5}"/>
    <dgm:cxn modelId="{C8C7D96F-0354-4636-8A02-506F7566CC5F}" type="presOf" srcId="{A3E631B7-9209-4F79-8B7D-78DADD695CB6}" destId="{E0CA4CE8-DF13-4590-987B-E1F14878D0D0}" srcOrd="0" destOrd="0" presId="urn:microsoft.com/office/officeart/2005/8/layout/hierarchy3"/>
    <dgm:cxn modelId="{99DC1F7E-C1AC-40E0-92D6-0FA85CBCEC18}" type="presOf" srcId="{145DC95C-343A-4833-828F-640ECE557A3C}" destId="{514CCD24-1E2C-453D-BF22-88DF87AF73A9}" srcOrd="0" destOrd="0" presId="urn:microsoft.com/office/officeart/2005/8/layout/hierarchy3"/>
    <dgm:cxn modelId="{3E4FD40A-74AF-4305-A963-3D532BB1BDB2}" type="presOf" srcId="{1E5F0F43-65C0-4966-8B94-68557E8A8FD2}" destId="{3468509C-395C-4CAA-8031-56300B0F5235}" srcOrd="0" destOrd="0" presId="urn:microsoft.com/office/officeart/2005/8/layout/hierarchy3"/>
    <dgm:cxn modelId="{208A013F-67CC-45D9-9D7C-BDFF1EF917EC}" type="presOf" srcId="{ADD12BED-F60A-4423-9A67-D1C09AA09E3B}" destId="{41871421-70EC-4E35-ACE6-5F0BE47759C5}" srcOrd="0" destOrd="0" presId="urn:microsoft.com/office/officeart/2005/8/layout/hierarchy3"/>
    <dgm:cxn modelId="{E6512D42-E6E4-4A49-AA36-F146703C69EF}" srcId="{C1FBEED3-01B1-46F3-B957-C11B257F1AE3}" destId="{8746147D-8DC9-41D2-AF76-E3393A23BB17}" srcOrd="2" destOrd="0" parTransId="{9A0210E9-5A8C-4027-B606-6E0EAF96BFF0}" sibTransId="{0699C35D-9DBD-493E-9B35-13B32D239E2E}"/>
    <dgm:cxn modelId="{194D2862-156A-4EBA-ABD7-59B286E46E59}" type="presOf" srcId="{CF0A68FE-74EF-4AA2-9ED9-7B01612DF642}" destId="{2F95051D-7999-4B57-B62B-0A8E93ED2CF3}" srcOrd="1" destOrd="0" presId="urn:microsoft.com/office/officeart/2005/8/layout/hierarchy3"/>
    <dgm:cxn modelId="{E117859B-F120-442C-BC7D-AFBF60FF4C09}" type="presOf" srcId="{D25524BB-BA01-4625-A17E-1375E25926A9}" destId="{AF282591-F9D6-4D71-87B7-F071E96D36ED}" srcOrd="0" destOrd="0" presId="urn:microsoft.com/office/officeart/2005/8/layout/hierarchy3"/>
    <dgm:cxn modelId="{4D0B9E23-6C65-4334-B43C-6F30BA97B691}" type="presOf" srcId="{F2B45D32-39B9-4690-B88E-99730CFCA1C4}" destId="{9905323C-1E59-4D05-AA1E-B7EE7C23098B}" srcOrd="0" destOrd="0" presId="urn:microsoft.com/office/officeart/2005/8/layout/hierarchy3"/>
    <dgm:cxn modelId="{53A56883-748A-49D5-9EF6-14C90CE708C1}" type="presOf" srcId="{7642F327-1072-4DD7-8085-E4BEF0F7CEF6}" destId="{A094DAF6-161A-48A6-B978-DABD7441AB19}" srcOrd="0" destOrd="0" presId="urn:microsoft.com/office/officeart/2005/8/layout/hierarchy3"/>
    <dgm:cxn modelId="{13F4644E-10ED-4805-B888-2D390D2C9B73}" type="presOf" srcId="{79272D6E-260D-4233-BB8C-2615A79B2370}" destId="{2BC3C2DE-9EAD-4869-A336-94FDD377E048}" srcOrd="0" destOrd="0" presId="urn:microsoft.com/office/officeart/2005/8/layout/hierarchy3"/>
    <dgm:cxn modelId="{9488A6F3-A97B-4440-8CCF-1D1C8498DB65}" srcId="{CF0A68FE-74EF-4AA2-9ED9-7B01612DF642}" destId="{F9B2E840-DE88-441B-8F8F-A2DE66ED0633}" srcOrd="1" destOrd="0" parTransId="{9521B682-538C-4B7C-8D37-8F635E3CEDCF}" sibTransId="{C0B8BDFE-6B71-412F-87BA-AE560DB88854}"/>
    <dgm:cxn modelId="{6E02D67F-096F-4FBD-9ADD-F1F4D7C35A0A}" type="presOf" srcId="{9A2BBAB2-C159-4901-841E-042B80A8B630}" destId="{B3A7663D-4801-4EEA-BC36-9D7BE3DC1324}" srcOrd="0" destOrd="0" presId="urn:microsoft.com/office/officeart/2005/8/layout/hierarchy3"/>
    <dgm:cxn modelId="{E09D209A-F532-444B-B9A7-777C8DFE563A}" type="presOf" srcId="{C56710DF-7A83-4F98-B90E-671C2AA7E0FD}" destId="{EF2D5B3F-8873-4D01-A72A-E045084A3BEB}" srcOrd="0" destOrd="0" presId="urn:microsoft.com/office/officeart/2005/8/layout/hierarchy3"/>
    <dgm:cxn modelId="{3CE52423-5F6A-434C-B3E9-4EAA4AF11234}" type="presOf" srcId="{FDF90672-9DCC-49A1-88EC-47C6EE561620}" destId="{21A0268F-B372-4F1C-BDD7-D8778538F1BD}" srcOrd="0" destOrd="0" presId="urn:microsoft.com/office/officeart/2005/8/layout/hierarchy3"/>
    <dgm:cxn modelId="{D3AF7A4D-D5F4-47D8-89C8-5158F758A0B5}" srcId="{0EF02B3D-83A1-4FFD-9A2F-B47840B73872}" destId="{25E13BD1-56C0-42FE-BA2F-BEAAB3C503DF}" srcOrd="0" destOrd="0" parTransId="{1E5F0F43-65C0-4966-8B94-68557E8A8FD2}" sibTransId="{7A023CD7-1392-47DC-8282-82672F3B8E94}"/>
    <dgm:cxn modelId="{026AB6B2-867A-4426-8B16-7BC073E86889}" type="presOf" srcId="{520B5CD5-F714-4B4A-B448-3DC58E282121}" destId="{6BBB35D1-D584-4E83-ACBD-497A735838F3}" srcOrd="0" destOrd="0" presId="urn:microsoft.com/office/officeart/2005/8/layout/hierarchy3"/>
    <dgm:cxn modelId="{A44D347E-C33C-45C1-B6D0-957F6A080E33}" type="presOf" srcId="{9521B682-538C-4B7C-8D37-8F635E3CEDCF}" destId="{2090B7D8-B3E0-4B2F-AFC1-6E82D4E32AFB}" srcOrd="0" destOrd="0" presId="urn:microsoft.com/office/officeart/2005/8/layout/hierarchy3"/>
    <dgm:cxn modelId="{B26BC062-8BF4-4370-8611-8B5A4506ABD2}" type="presOf" srcId="{CF0A68FE-74EF-4AA2-9ED9-7B01612DF642}" destId="{7A36CD1C-4CDD-455D-9997-CCE8CF7F334A}" srcOrd="0" destOrd="0" presId="urn:microsoft.com/office/officeart/2005/8/layout/hierarchy3"/>
    <dgm:cxn modelId="{5E86D010-5A1C-49FC-8919-E63C3A0F4C8E}" srcId="{F9BDD195-9873-4859-9E5A-366D4086EBC9}" destId="{D2883BF8-8F9D-4EA2-8AF4-AD8BBBA155D8}" srcOrd="1" destOrd="0" parTransId="{0076D393-258B-411F-9E1B-45EEB92551EE}" sibTransId="{091B76C2-98AD-4FDC-9433-2E707496C7E7}"/>
    <dgm:cxn modelId="{9E90FAA3-508C-4730-99DB-54D644437BB6}" srcId="{0EF02B3D-83A1-4FFD-9A2F-B47840B73872}" destId="{0652A6FA-76B7-41E1-B1A3-B5123CD36F17}" srcOrd="1" destOrd="0" parTransId="{08100822-BC5B-4759-A7E9-192366A480EC}" sibTransId="{6EFF2A5B-9495-4B97-B181-9FFD9E1CE878}"/>
    <dgm:cxn modelId="{0A12BBFE-F5D5-4986-A6D1-F2441BECC337}" type="presOf" srcId="{0EF02B3D-83A1-4FFD-9A2F-B47840B73872}" destId="{1E16444F-7FBB-4384-AD05-F603ADBD0287}" srcOrd="0" destOrd="0" presId="urn:microsoft.com/office/officeart/2005/8/layout/hierarchy3"/>
    <dgm:cxn modelId="{EC157DF8-E89D-4A45-9278-06DB2F1450CA}" type="presOf" srcId="{F9B2E840-DE88-441B-8F8F-A2DE66ED0633}" destId="{52FB85B1-0560-4612-929C-E666117661C5}" srcOrd="0" destOrd="0" presId="urn:microsoft.com/office/officeart/2005/8/layout/hierarchy3"/>
    <dgm:cxn modelId="{8AB68A93-B2B5-4DCA-A0F0-18BB97028613}" type="presOf" srcId="{1DCA5167-A940-4F7B-9438-7F81018BACA0}" destId="{80AEAD2E-F332-49ED-B347-BB757F2051EC}" srcOrd="0" destOrd="0" presId="urn:microsoft.com/office/officeart/2005/8/layout/hierarchy3"/>
    <dgm:cxn modelId="{C75D838A-86D1-4B65-8930-1949EE676174}" srcId="{0EF02B3D-83A1-4FFD-9A2F-B47840B73872}" destId="{520B5CD5-F714-4B4A-B448-3DC58E282121}" srcOrd="2" destOrd="0" parTransId="{FDF90672-9DCC-49A1-88EC-47C6EE561620}" sibTransId="{D233F710-192A-459E-BA1E-4B4627B47C7D}"/>
    <dgm:cxn modelId="{A144311C-97BA-4D66-AB77-A3C1B7F4B5C4}" type="presOf" srcId="{F9BDD195-9873-4859-9E5A-366D4086EBC9}" destId="{153432B2-7305-4E7F-98B3-29ECE0996D08}" srcOrd="1" destOrd="0" presId="urn:microsoft.com/office/officeart/2005/8/layout/hierarchy3"/>
    <dgm:cxn modelId="{62AA0487-2D89-4D4B-A50C-5AB9CC779B4D}" type="presOf" srcId="{DCC9AE9E-E07F-4170-A9FA-84A7499D7727}" destId="{553F0568-A673-45CB-95BE-4F77D8A4A58F}" srcOrd="0" destOrd="0" presId="urn:microsoft.com/office/officeart/2005/8/layout/hierarchy3"/>
    <dgm:cxn modelId="{8E495BEA-8F07-406D-9AF3-1636B8E20C82}" type="presOf" srcId="{19776E37-EBC8-420B-8C42-4ADFECCD7262}" destId="{425CC0D6-A987-4F3E-A514-4EB36E1C05A6}" srcOrd="0" destOrd="0" presId="urn:microsoft.com/office/officeart/2005/8/layout/hierarchy3"/>
    <dgm:cxn modelId="{D5888B3A-E099-4579-B4A9-F84FCE1EF33D}" type="presOf" srcId="{0076D393-258B-411F-9E1B-45EEB92551EE}" destId="{ED8356AA-4FF3-4C94-86D4-33D7492D9366}" srcOrd="0" destOrd="0" presId="urn:microsoft.com/office/officeart/2005/8/layout/hierarchy3"/>
    <dgm:cxn modelId="{8879D102-A6D4-4E74-A1A5-52BEE2B885FA}" srcId="{C1FBEED3-01B1-46F3-B957-C11B257F1AE3}" destId="{CF0A68FE-74EF-4AA2-9ED9-7B01612DF642}" srcOrd="0" destOrd="0" parTransId="{E64A07B7-C90A-445E-93B5-B45E2BB98F9F}" sibTransId="{5AEAF890-6343-43D3-833D-446C267EA1E1}"/>
    <dgm:cxn modelId="{2FCEB088-16D6-47CC-8CDA-D10E0FE24B49}" srcId="{8746147D-8DC9-41D2-AF76-E3393A23BB17}" destId="{79272D6E-260D-4233-BB8C-2615A79B2370}" srcOrd="2" destOrd="0" parTransId="{DCC9AE9E-E07F-4170-A9FA-84A7499D7727}" sibTransId="{071D1648-D77A-43D6-BA13-C7FC8C12C3C7}"/>
    <dgm:cxn modelId="{A15A636A-D352-4DCF-BA62-3F9090E6744D}" srcId="{C1FBEED3-01B1-46F3-B957-C11B257F1AE3}" destId="{0EF02B3D-83A1-4FFD-9A2F-B47840B73872}" srcOrd="3" destOrd="0" parTransId="{4850EE69-15BE-4D5B-80D3-CC9D2E4DD202}" sibTransId="{811107CF-E72B-46D2-A73C-4BF41D68B7EB}"/>
    <dgm:cxn modelId="{2B017049-8ADD-45A9-9B7E-A0C9C69BEB8B}" type="presOf" srcId="{8746147D-8DC9-41D2-AF76-E3393A23BB17}" destId="{4A494DA0-FA72-44E1-902B-A8B74A7AFC5A}" srcOrd="1" destOrd="0" presId="urn:microsoft.com/office/officeart/2005/8/layout/hierarchy3"/>
    <dgm:cxn modelId="{1CC3F0FF-A4AB-44FE-BCC6-DC850EAA490B}" type="presOf" srcId="{0EF02B3D-83A1-4FFD-9A2F-B47840B73872}" destId="{C6B16B97-322B-4EFB-9025-80A8D081D67C}" srcOrd="1" destOrd="0" presId="urn:microsoft.com/office/officeart/2005/8/layout/hierarchy3"/>
    <dgm:cxn modelId="{594C592D-E613-40FC-A690-DF62E0FBC905}" srcId="{8746147D-8DC9-41D2-AF76-E3393A23BB17}" destId="{9A2BBAB2-C159-4901-841E-042B80A8B630}" srcOrd="1" destOrd="0" parTransId="{DC38496F-F34A-4653-960F-5BF8B21424EF}" sibTransId="{68EB307C-59AE-429F-9E36-04ACDA9A891E}"/>
    <dgm:cxn modelId="{0BD60C49-696D-4DD2-8E01-FE8A12F4326A}" type="presOf" srcId="{F9BDD195-9873-4859-9E5A-366D4086EBC9}" destId="{7B33427B-A5D7-45FA-9C9F-3604B9916F97}" srcOrd="0" destOrd="0" presId="urn:microsoft.com/office/officeart/2005/8/layout/hierarchy3"/>
    <dgm:cxn modelId="{8D50B8C6-C59D-4809-B6C7-D2A414E53476}" srcId="{CF0A68FE-74EF-4AA2-9ED9-7B01612DF642}" destId="{C56710DF-7A83-4F98-B90E-671C2AA7E0FD}" srcOrd="2" destOrd="0" parTransId="{ADB013F8-898F-4BBA-9FDB-6B9AEDAC8C5C}" sibTransId="{2006F637-53B8-4FE9-8CE1-A388B5E2D5B6}"/>
    <dgm:cxn modelId="{77E5B836-E302-4B03-8D9D-321D20563789}" srcId="{CF0A68FE-74EF-4AA2-9ED9-7B01612DF642}" destId="{19776E37-EBC8-420B-8C42-4ADFECCD7262}" srcOrd="0" destOrd="0" parTransId="{A3E631B7-9209-4F79-8B7D-78DADD695CB6}" sibTransId="{1DFC8BA7-96D2-4B91-8AF1-67D585923E62}"/>
    <dgm:cxn modelId="{E72B4213-5846-4969-ACC2-0FC201FA4566}" type="presOf" srcId="{0652A6FA-76B7-41E1-B1A3-B5123CD36F17}" destId="{39EB9B09-F3A1-4BBA-BC84-08C74AB13F65}" srcOrd="0" destOrd="0" presId="urn:microsoft.com/office/officeart/2005/8/layout/hierarchy3"/>
    <dgm:cxn modelId="{59341204-84A7-49A8-B95D-4B6AAB2309D6}" srcId="{F9BDD195-9873-4859-9E5A-366D4086EBC9}" destId="{06866570-9937-4602-80F8-51DB56C03E75}" srcOrd="0" destOrd="0" parTransId="{B784CD62-3076-425C-B3D6-396E8EFD4C85}" sibTransId="{9AEED5E1-2059-4EC2-ABAD-2BA2880E5ED4}"/>
    <dgm:cxn modelId="{A471BC58-013B-4DA0-AFF6-D8784BCDD3E2}" srcId="{8746147D-8DC9-41D2-AF76-E3393A23BB17}" destId="{145DC95C-343A-4833-828F-640ECE557A3C}" srcOrd="0" destOrd="0" parTransId="{1DCA5167-A940-4F7B-9438-7F81018BACA0}" sibTransId="{08A4C67C-F3AE-41D6-BE38-3A89DDEFAEBD}"/>
    <dgm:cxn modelId="{13B642C2-4BD4-411D-811C-5B45C02BD5FB}" type="presOf" srcId="{ADB013F8-898F-4BBA-9FDB-6B9AEDAC8C5C}" destId="{231CFEE3-EF12-4482-A39F-04BAC3EAFDD4}" srcOrd="0" destOrd="0" presId="urn:microsoft.com/office/officeart/2005/8/layout/hierarchy3"/>
    <dgm:cxn modelId="{E8F6AF90-5DA8-474E-A160-51A8198C96DB}" type="presOf" srcId="{06866570-9937-4602-80F8-51DB56C03E75}" destId="{1D40BAC0-730F-468C-A268-4CE337B40F55}" srcOrd="0" destOrd="0" presId="urn:microsoft.com/office/officeart/2005/8/layout/hierarchy3"/>
    <dgm:cxn modelId="{0C70EFBF-9573-41BE-AD10-34E250B8FE5D}" type="presParOf" srcId="{9B7985EC-B0EF-4343-B642-77C28343B400}" destId="{E0EA4377-9324-445C-BE79-82DCA49297B7}" srcOrd="0" destOrd="0" presId="urn:microsoft.com/office/officeart/2005/8/layout/hierarchy3"/>
    <dgm:cxn modelId="{ACE835E5-2F53-425B-B255-864C8DF741BA}" type="presParOf" srcId="{E0EA4377-9324-445C-BE79-82DCA49297B7}" destId="{B65F52D6-B171-48CC-A37C-D69CDDA68680}" srcOrd="0" destOrd="0" presId="urn:microsoft.com/office/officeart/2005/8/layout/hierarchy3"/>
    <dgm:cxn modelId="{A33953A2-6C8B-4F59-BD7E-EAE9E3213E72}" type="presParOf" srcId="{B65F52D6-B171-48CC-A37C-D69CDDA68680}" destId="{7A36CD1C-4CDD-455D-9997-CCE8CF7F334A}" srcOrd="0" destOrd="0" presId="urn:microsoft.com/office/officeart/2005/8/layout/hierarchy3"/>
    <dgm:cxn modelId="{03ACE68B-31D4-4F4E-B6C5-3B506DCD2F2A}" type="presParOf" srcId="{B65F52D6-B171-48CC-A37C-D69CDDA68680}" destId="{2F95051D-7999-4B57-B62B-0A8E93ED2CF3}" srcOrd="1" destOrd="0" presId="urn:microsoft.com/office/officeart/2005/8/layout/hierarchy3"/>
    <dgm:cxn modelId="{A6F499B2-02F0-4B07-9BEC-30779B4B07E3}" type="presParOf" srcId="{E0EA4377-9324-445C-BE79-82DCA49297B7}" destId="{90052C28-923F-4976-8A30-1CBD34BA8232}" srcOrd="1" destOrd="0" presId="urn:microsoft.com/office/officeart/2005/8/layout/hierarchy3"/>
    <dgm:cxn modelId="{F5BD03E9-7EE5-4535-B182-5D33D74254B8}" type="presParOf" srcId="{90052C28-923F-4976-8A30-1CBD34BA8232}" destId="{E0CA4CE8-DF13-4590-987B-E1F14878D0D0}" srcOrd="0" destOrd="0" presId="urn:microsoft.com/office/officeart/2005/8/layout/hierarchy3"/>
    <dgm:cxn modelId="{79E69017-023E-472A-BF2A-7C69B5D19DD4}" type="presParOf" srcId="{90052C28-923F-4976-8A30-1CBD34BA8232}" destId="{425CC0D6-A987-4F3E-A514-4EB36E1C05A6}" srcOrd="1" destOrd="0" presId="urn:microsoft.com/office/officeart/2005/8/layout/hierarchy3"/>
    <dgm:cxn modelId="{0C9B011D-A094-424C-8B00-2F5713B7A02B}" type="presParOf" srcId="{90052C28-923F-4976-8A30-1CBD34BA8232}" destId="{2090B7D8-B3E0-4B2F-AFC1-6E82D4E32AFB}" srcOrd="2" destOrd="0" presId="urn:microsoft.com/office/officeart/2005/8/layout/hierarchy3"/>
    <dgm:cxn modelId="{2B495A6A-A81F-41D3-B110-46F9F4244C87}" type="presParOf" srcId="{90052C28-923F-4976-8A30-1CBD34BA8232}" destId="{52FB85B1-0560-4612-929C-E666117661C5}" srcOrd="3" destOrd="0" presId="urn:microsoft.com/office/officeart/2005/8/layout/hierarchy3"/>
    <dgm:cxn modelId="{53F3B192-3BEF-41BF-BD84-E68BDA4AF49F}" type="presParOf" srcId="{90052C28-923F-4976-8A30-1CBD34BA8232}" destId="{231CFEE3-EF12-4482-A39F-04BAC3EAFDD4}" srcOrd="4" destOrd="0" presId="urn:microsoft.com/office/officeart/2005/8/layout/hierarchy3"/>
    <dgm:cxn modelId="{D7080EDF-3A19-4E87-9FA8-2A64B27980DB}" type="presParOf" srcId="{90052C28-923F-4976-8A30-1CBD34BA8232}" destId="{EF2D5B3F-8873-4D01-A72A-E045084A3BEB}" srcOrd="5" destOrd="0" presId="urn:microsoft.com/office/officeart/2005/8/layout/hierarchy3"/>
    <dgm:cxn modelId="{1D7794DC-C1E2-48EF-8FD1-032D7865F718}" type="presParOf" srcId="{9B7985EC-B0EF-4343-B642-77C28343B400}" destId="{98A096D9-1EFA-44CE-ABCA-781100FE0571}" srcOrd="1" destOrd="0" presId="urn:microsoft.com/office/officeart/2005/8/layout/hierarchy3"/>
    <dgm:cxn modelId="{66BB1FFB-C76E-4D81-8C14-9B8454F875A6}" type="presParOf" srcId="{98A096D9-1EFA-44CE-ABCA-781100FE0571}" destId="{C19C8F78-A25C-447B-AB15-580F4CDF29EF}" srcOrd="0" destOrd="0" presId="urn:microsoft.com/office/officeart/2005/8/layout/hierarchy3"/>
    <dgm:cxn modelId="{29C58EA3-C05A-4624-A0C4-BB4B18983B79}" type="presParOf" srcId="{C19C8F78-A25C-447B-AB15-580F4CDF29EF}" destId="{7B33427B-A5D7-45FA-9C9F-3604B9916F97}" srcOrd="0" destOrd="0" presId="urn:microsoft.com/office/officeart/2005/8/layout/hierarchy3"/>
    <dgm:cxn modelId="{89D4B2D0-FB60-42D5-BBF3-FEB739936405}" type="presParOf" srcId="{C19C8F78-A25C-447B-AB15-580F4CDF29EF}" destId="{153432B2-7305-4E7F-98B3-29ECE0996D08}" srcOrd="1" destOrd="0" presId="urn:microsoft.com/office/officeart/2005/8/layout/hierarchy3"/>
    <dgm:cxn modelId="{3E2FCE03-92DD-45D5-A3CD-5350058DC223}" type="presParOf" srcId="{98A096D9-1EFA-44CE-ABCA-781100FE0571}" destId="{8D01CE45-FB71-4B2F-8080-03B1F5F4DEB5}" srcOrd="1" destOrd="0" presId="urn:microsoft.com/office/officeart/2005/8/layout/hierarchy3"/>
    <dgm:cxn modelId="{7CBD6718-1FE7-41CE-A369-37EF080E2E84}" type="presParOf" srcId="{8D01CE45-FB71-4B2F-8080-03B1F5F4DEB5}" destId="{84099D88-DA45-493B-BC00-2EF75A9E221B}" srcOrd="0" destOrd="0" presId="urn:microsoft.com/office/officeart/2005/8/layout/hierarchy3"/>
    <dgm:cxn modelId="{24F787EE-E571-49DE-91BC-E8EDFF219B79}" type="presParOf" srcId="{8D01CE45-FB71-4B2F-8080-03B1F5F4DEB5}" destId="{1D40BAC0-730F-468C-A268-4CE337B40F55}" srcOrd="1" destOrd="0" presId="urn:microsoft.com/office/officeart/2005/8/layout/hierarchy3"/>
    <dgm:cxn modelId="{58D863D7-A5B6-4C24-8D96-5085529C7FF8}" type="presParOf" srcId="{8D01CE45-FB71-4B2F-8080-03B1F5F4DEB5}" destId="{ED8356AA-4FF3-4C94-86D4-33D7492D9366}" srcOrd="2" destOrd="0" presId="urn:microsoft.com/office/officeart/2005/8/layout/hierarchy3"/>
    <dgm:cxn modelId="{C94180D2-80A7-4088-A770-D9ECDBC7478C}" type="presParOf" srcId="{8D01CE45-FB71-4B2F-8080-03B1F5F4DEB5}" destId="{A9500BED-E339-42BC-86E0-49507C8F2259}" srcOrd="3" destOrd="0" presId="urn:microsoft.com/office/officeart/2005/8/layout/hierarchy3"/>
    <dgm:cxn modelId="{68509F3C-701A-4106-8E9F-B735763B4098}" type="presParOf" srcId="{8D01CE45-FB71-4B2F-8080-03B1F5F4DEB5}" destId="{A094DAF6-161A-48A6-B978-DABD7441AB19}" srcOrd="4" destOrd="0" presId="urn:microsoft.com/office/officeart/2005/8/layout/hierarchy3"/>
    <dgm:cxn modelId="{4ECC78DA-CC4A-481B-B938-8C294CB3DA8A}" type="presParOf" srcId="{8D01CE45-FB71-4B2F-8080-03B1F5F4DEB5}" destId="{AF282591-F9D6-4D71-87B7-F071E96D36ED}" srcOrd="5" destOrd="0" presId="urn:microsoft.com/office/officeart/2005/8/layout/hierarchy3"/>
    <dgm:cxn modelId="{9DC4A795-D9A9-4EE3-B619-C85CA1EB4E29}" type="presParOf" srcId="{9B7985EC-B0EF-4343-B642-77C28343B400}" destId="{B5D23DC3-E02C-43C3-AF6A-33F3523254CB}" srcOrd="2" destOrd="0" presId="urn:microsoft.com/office/officeart/2005/8/layout/hierarchy3"/>
    <dgm:cxn modelId="{C4AEAED7-3407-496E-958C-A096F831148D}" type="presParOf" srcId="{B5D23DC3-E02C-43C3-AF6A-33F3523254CB}" destId="{4C2EB443-896C-4637-8823-9D5A5242112F}" srcOrd="0" destOrd="0" presId="urn:microsoft.com/office/officeart/2005/8/layout/hierarchy3"/>
    <dgm:cxn modelId="{C9A1CEEF-8199-4415-9364-403D4398BCF1}" type="presParOf" srcId="{4C2EB443-896C-4637-8823-9D5A5242112F}" destId="{4A1F2038-FA57-4AC2-8252-3ACCDA100695}" srcOrd="0" destOrd="0" presId="urn:microsoft.com/office/officeart/2005/8/layout/hierarchy3"/>
    <dgm:cxn modelId="{CB0C7CB3-CB37-44ED-9C3B-1429E166DF2D}" type="presParOf" srcId="{4C2EB443-896C-4637-8823-9D5A5242112F}" destId="{4A494DA0-FA72-44E1-902B-A8B74A7AFC5A}" srcOrd="1" destOrd="0" presId="urn:microsoft.com/office/officeart/2005/8/layout/hierarchy3"/>
    <dgm:cxn modelId="{7D15D0E8-ED5B-485D-B526-EBC74BEFC5F9}" type="presParOf" srcId="{B5D23DC3-E02C-43C3-AF6A-33F3523254CB}" destId="{B1CED59B-0E8C-4780-AF03-6A8D8134D1DC}" srcOrd="1" destOrd="0" presId="urn:microsoft.com/office/officeart/2005/8/layout/hierarchy3"/>
    <dgm:cxn modelId="{76C40AD9-A901-458F-853C-8FA5CD305F3E}" type="presParOf" srcId="{B1CED59B-0E8C-4780-AF03-6A8D8134D1DC}" destId="{80AEAD2E-F332-49ED-B347-BB757F2051EC}" srcOrd="0" destOrd="0" presId="urn:microsoft.com/office/officeart/2005/8/layout/hierarchy3"/>
    <dgm:cxn modelId="{0B32C2A5-5B97-4939-81AE-890C417A79A4}" type="presParOf" srcId="{B1CED59B-0E8C-4780-AF03-6A8D8134D1DC}" destId="{514CCD24-1E2C-453D-BF22-88DF87AF73A9}" srcOrd="1" destOrd="0" presId="urn:microsoft.com/office/officeart/2005/8/layout/hierarchy3"/>
    <dgm:cxn modelId="{34BE6ECE-64FA-414E-B151-539CD11B606E}" type="presParOf" srcId="{B1CED59B-0E8C-4780-AF03-6A8D8134D1DC}" destId="{AC4AE9B6-DFD3-48C1-9A53-5B6F93D311A8}" srcOrd="2" destOrd="0" presId="urn:microsoft.com/office/officeart/2005/8/layout/hierarchy3"/>
    <dgm:cxn modelId="{F3E8BA79-D68C-4448-AB6E-0144CAE6AA06}" type="presParOf" srcId="{B1CED59B-0E8C-4780-AF03-6A8D8134D1DC}" destId="{B3A7663D-4801-4EEA-BC36-9D7BE3DC1324}" srcOrd="3" destOrd="0" presId="urn:microsoft.com/office/officeart/2005/8/layout/hierarchy3"/>
    <dgm:cxn modelId="{810E8610-6DC4-47BE-BDA3-0CF3252B4543}" type="presParOf" srcId="{B1CED59B-0E8C-4780-AF03-6A8D8134D1DC}" destId="{553F0568-A673-45CB-95BE-4F77D8A4A58F}" srcOrd="4" destOrd="0" presId="urn:microsoft.com/office/officeart/2005/8/layout/hierarchy3"/>
    <dgm:cxn modelId="{E2CC799A-31B0-4840-B216-26456BBE377D}" type="presParOf" srcId="{B1CED59B-0E8C-4780-AF03-6A8D8134D1DC}" destId="{2BC3C2DE-9EAD-4869-A336-94FDD377E048}" srcOrd="5" destOrd="0" presId="urn:microsoft.com/office/officeart/2005/8/layout/hierarchy3"/>
    <dgm:cxn modelId="{3398D4DC-31B1-4A5C-BA08-0E58530AF823}" type="presParOf" srcId="{9B7985EC-B0EF-4343-B642-77C28343B400}" destId="{F263971E-A094-4BE1-B6FF-B01FD356816F}" srcOrd="3" destOrd="0" presId="urn:microsoft.com/office/officeart/2005/8/layout/hierarchy3"/>
    <dgm:cxn modelId="{7410F043-7B68-4675-A731-5083BE0A6DB8}" type="presParOf" srcId="{F263971E-A094-4BE1-B6FF-B01FD356816F}" destId="{99861FEE-40ED-4928-B757-A2A60C7294F7}" srcOrd="0" destOrd="0" presId="urn:microsoft.com/office/officeart/2005/8/layout/hierarchy3"/>
    <dgm:cxn modelId="{AA2B0627-F930-4F40-892D-3B408B820683}" type="presParOf" srcId="{99861FEE-40ED-4928-B757-A2A60C7294F7}" destId="{1E16444F-7FBB-4384-AD05-F603ADBD0287}" srcOrd="0" destOrd="0" presId="urn:microsoft.com/office/officeart/2005/8/layout/hierarchy3"/>
    <dgm:cxn modelId="{1B0D5A6B-ABAA-4146-8EA9-DAD12555CC84}" type="presParOf" srcId="{99861FEE-40ED-4928-B757-A2A60C7294F7}" destId="{C6B16B97-322B-4EFB-9025-80A8D081D67C}" srcOrd="1" destOrd="0" presId="urn:microsoft.com/office/officeart/2005/8/layout/hierarchy3"/>
    <dgm:cxn modelId="{40C3D2A8-7316-4F52-868C-97F638198341}" type="presParOf" srcId="{F263971E-A094-4BE1-B6FF-B01FD356816F}" destId="{694019B7-50B2-4D69-AC56-1900471865C6}" srcOrd="1" destOrd="0" presId="urn:microsoft.com/office/officeart/2005/8/layout/hierarchy3"/>
    <dgm:cxn modelId="{07BF909A-853F-4519-BDDC-1B9979A7D6DE}" type="presParOf" srcId="{694019B7-50B2-4D69-AC56-1900471865C6}" destId="{3468509C-395C-4CAA-8031-56300B0F5235}" srcOrd="0" destOrd="0" presId="urn:microsoft.com/office/officeart/2005/8/layout/hierarchy3"/>
    <dgm:cxn modelId="{1CDD931D-7C72-49EC-AFCD-25C59C6FCBCF}" type="presParOf" srcId="{694019B7-50B2-4D69-AC56-1900471865C6}" destId="{32CF6715-6666-40F0-95F7-7B160E03C7CC}" srcOrd="1" destOrd="0" presId="urn:microsoft.com/office/officeart/2005/8/layout/hierarchy3"/>
    <dgm:cxn modelId="{2398BF00-9236-4072-8437-2E1811FAE733}" type="presParOf" srcId="{694019B7-50B2-4D69-AC56-1900471865C6}" destId="{46304A66-8EF0-46E0-A0F4-2DF3234AD846}" srcOrd="2" destOrd="0" presId="urn:microsoft.com/office/officeart/2005/8/layout/hierarchy3"/>
    <dgm:cxn modelId="{2E26C58D-604E-45DA-8D17-9BDC7AA28E01}" type="presParOf" srcId="{694019B7-50B2-4D69-AC56-1900471865C6}" destId="{39EB9B09-F3A1-4BBA-BC84-08C74AB13F65}" srcOrd="3" destOrd="0" presId="urn:microsoft.com/office/officeart/2005/8/layout/hierarchy3"/>
    <dgm:cxn modelId="{381E55AB-E333-4366-B5FB-AE3B4E7A1E8A}" type="presParOf" srcId="{694019B7-50B2-4D69-AC56-1900471865C6}" destId="{21A0268F-B372-4F1C-BDD7-D8778538F1BD}" srcOrd="4" destOrd="0" presId="urn:microsoft.com/office/officeart/2005/8/layout/hierarchy3"/>
    <dgm:cxn modelId="{E2A8D737-37A9-4707-9EB2-240B97CB842E}" type="presParOf" srcId="{694019B7-50B2-4D69-AC56-1900471865C6}" destId="{6BBB35D1-D584-4E83-ACBD-497A735838F3}" srcOrd="5" destOrd="0" presId="urn:microsoft.com/office/officeart/2005/8/layout/hierarchy3"/>
    <dgm:cxn modelId="{3F18C66A-90D8-494C-A6F4-5961AE0DAEE2}" type="presParOf" srcId="{694019B7-50B2-4D69-AC56-1900471865C6}" destId="{9905323C-1E59-4D05-AA1E-B7EE7C23098B}" srcOrd="6" destOrd="0" presId="urn:microsoft.com/office/officeart/2005/8/layout/hierarchy3"/>
    <dgm:cxn modelId="{C17C5479-D730-4445-A1C0-9A362BEB77A4}" type="presParOf" srcId="{694019B7-50B2-4D69-AC56-1900471865C6}" destId="{41871421-70EC-4E35-ACE6-5F0BE47759C5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1FBEED3-01B1-46F3-B957-C11B257F1AE3}" type="doc">
      <dgm:prSet loTypeId="urn:microsoft.com/office/officeart/2005/8/layout/hierarchy3" loCatId="hierarchy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CF0A68FE-74EF-4AA2-9ED9-7B01612DF642}">
      <dgm:prSet phldrT="[Texto]" custT="1"/>
      <dgm:spPr>
        <a:solidFill>
          <a:srgbClr val="009999"/>
        </a:solidFill>
      </dgm:spPr>
      <dgm:t>
        <a:bodyPr/>
        <a:lstStyle/>
        <a:p>
          <a:r>
            <a:rPr lang="es-CL" sz="2000" dirty="0"/>
            <a:t>TRAMITES ASD</a:t>
          </a:r>
        </a:p>
      </dgm:t>
    </dgm:pt>
    <dgm:pt modelId="{E64A07B7-C90A-445E-93B5-B45E2BB98F9F}" type="parTrans" cxnId="{8879D102-A6D4-4E74-A1A5-52BEE2B885FA}">
      <dgm:prSet/>
      <dgm:spPr/>
      <dgm:t>
        <a:bodyPr/>
        <a:lstStyle/>
        <a:p>
          <a:endParaRPr lang="es-CL"/>
        </a:p>
      </dgm:t>
    </dgm:pt>
    <dgm:pt modelId="{5AEAF890-6343-43D3-833D-446C267EA1E1}" type="sibTrans" cxnId="{8879D102-A6D4-4E74-A1A5-52BEE2B885FA}">
      <dgm:prSet/>
      <dgm:spPr/>
      <dgm:t>
        <a:bodyPr/>
        <a:lstStyle/>
        <a:p>
          <a:endParaRPr lang="es-CL"/>
        </a:p>
      </dgm:t>
    </dgm:pt>
    <dgm:pt modelId="{19776E37-EBC8-420B-8C42-4ADFECCD7262}">
      <dgm:prSet phldrT="[Texto]" custT="1"/>
      <dgm:spPr>
        <a:solidFill>
          <a:srgbClr val="D1F7EA">
            <a:alpha val="89804"/>
          </a:srgbClr>
        </a:solidFill>
        <a:ln>
          <a:solidFill>
            <a:srgbClr val="008080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>
            <a:lnSpc>
              <a:spcPct val="100000"/>
            </a:lnSpc>
          </a:pPr>
          <a:r>
            <a:rPr lang="es-CL" sz="1100" b="1" dirty="0" smtClean="0">
              <a:solidFill>
                <a:srgbClr val="1B1B1B"/>
              </a:solidFill>
            </a:rPr>
            <a:t>Formalización: </a:t>
          </a:r>
          <a:r>
            <a:rPr lang="es-CL" sz="1100" b="0" dirty="0" smtClean="0">
              <a:solidFill>
                <a:srgbClr val="1B1B1B"/>
              </a:solidFill>
            </a:rPr>
            <a:t>Acto administrativo donde se certifica que se cumple con los requisitos sanitarios a las instalaciones, personas o procedimientos a través de un pronunciamiento   </a:t>
          </a:r>
          <a:endParaRPr lang="es-CL" sz="1100" b="0" dirty="0">
            <a:solidFill>
              <a:srgbClr val="1B1B1B"/>
            </a:solidFill>
          </a:endParaRPr>
        </a:p>
      </dgm:t>
    </dgm:pt>
    <dgm:pt modelId="{A3E631B7-9209-4F79-8B7D-78DADD695CB6}" type="parTrans" cxnId="{77E5B836-E302-4B03-8D9D-321D20563789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1DFC8BA7-96D2-4B91-8AF1-67D585923E62}" type="sibTrans" cxnId="{77E5B836-E302-4B03-8D9D-321D20563789}">
      <dgm:prSet/>
      <dgm:spPr/>
      <dgm:t>
        <a:bodyPr/>
        <a:lstStyle/>
        <a:p>
          <a:endParaRPr lang="es-CL"/>
        </a:p>
      </dgm:t>
    </dgm:pt>
    <dgm:pt modelId="{145DC95C-343A-4833-828F-640ECE557A3C}">
      <dgm:prSet phldrT="[Texto]" custT="1"/>
      <dgm:spPr>
        <a:solidFill>
          <a:srgbClr val="FFE2C5">
            <a:alpha val="89804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0" dirty="0" smtClean="0">
              <a:solidFill>
                <a:srgbClr val="1B1B1B"/>
              </a:solidFill>
            </a:rPr>
            <a:t>Vela por la facultad que tiene la autoridad sanitaria sobre el procedimiento de hospitalizaciones psiquiátricas administrativas involuntarias</a:t>
          </a:r>
          <a:endParaRPr lang="es-CL" sz="1100" b="0" dirty="0">
            <a:solidFill>
              <a:srgbClr val="1B1B1B"/>
            </a:solidFill>
          </a:endParaRPr>
        </a:p>
      </dgm:t>
    </dgm:pt>
    <dgm:pt modelId="{1DCA5167-A940-4F7B-9438-7F81018BACA0}" type="parTrans" cxnId="{A471BC58-013B-4DA0-AFF6-D8784BCDD3E2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08A4C67C-F3AE-41D6-BE38-3A89DDEFAEBD}" type="sibTrans" cxnId="{A471BC58-013B-4DA0-AFF6-D8784BCDD3E2}">
      <dgm:prSet/>
      <dgm:spPr/>
      <dgm:t>
        <a:bodyPr/>
        <a:lstStyle/>
        <a:p>
          <a:endParaRPr lang="es-CL"/>
        </a:p>
      </dgm:t>
    </dgm:pt>
    <dgm:pt modelId="{9A2BBAB2-C159-4901-841E-042B80A8B630}">
      <dgm:prSet phldrT="[Texto]" custT="1"/>
      <dgm:spPr>
        <a:solidFill>
          <a:srgbClr val="FFE2C5">
            <a:alpha val="90000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0" dirty="0" smtClean="0">
              <a:solidFill>
                <a:srgbClr val="1B1B1B"/>
              </a:solidFill>
              <a:latin typeface="+mn-lt"/>
            </a:rPr>
            <a:t>Permite el monitoreo de las solicitudes de los establecimientos de salud/lista de espera/hospitalizaciones/alta de las hospitalizaciones psiquiátricas de carácter involuntario</a:t>
          </a:r>
          <a:endParaRPr lang="es-CL" sz="1100" b="0" dirty="0">
            <a:solidFill>
              <a:srgbClr val="1B1B1B"/>
            </a:solidFill>
            <a:latin typeface="+mn-lt"/>
          </a:endParaRPr>
        </a:p>
      </dgm:t>
    </dgm:pt>
    <dgm:pt modelId="{DC38496F-F34A-4653-960F-5BF8B21424EF}" type="parTrans" cxnId="{594C592D-E613-40FC-A690-DF62E0FBC905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68EB307C-59AE-429F-9E36-04ACDA9A891E}" type="sibTrans" cxnId="{594C592D-E613-40FC-A690-DF62E0FBC905}">
      <dgm:prSet/>
      <dgm:spPr/>
      <dgm:t>
        <a:bodyPr/>
        <a:lstStyle/>
        <a:p>
          <a:endParaRPr lang="es-CL"/>
        </a:p>
      </dgm:t>
    </dgm:pt>
    <dgm:pt modelId="{8746147D-8DC9-41D2-AF76-E3393A23BB17}">
      <dgm:prSet phldrT="[Texto]" custT="1"/>
      <dgm:spPr>
        <a:solidFill>
          <a:srgbClr val="FF9933"/>
        </a:solidFill>
      </dgm:spPr>
      <dgm:t>
        <a:bodyPr/>
        <a:lstStyle/>
        <a:p>
          <a:r>
            <a:rPr lang="es-CL" sz="2000" dirty="0"/>
            <a:t>SALUD MENTAL</a:t>
          </a:r>
        </a:p>
      </dgm:t>
    </dgm:pt>
    <dgm:pt modelId="{0699C35D-9DBD-493E-9B35-13B32D239E2E}" type="sibTrans" cxnId="{E6512D42-E6E4-4A49-AA36-F146703C69EF}">
      <dgm:prSet/>
      <dgm:spPr/>
      <dgm:t>
        <a:bodyPr/>
        <a:lstStyle/>
        <a:p>
          <a:endParaRPr lang="es-CL"/>
        </a:p>
      </dgm:t>
    </dgm:pt>
    <dgm:pt modelId="{9A0210E9-5A8C-4027-B606-6E0EAF96BFF0}" type="parTrans" cxnId="{E6512D42-E6E4-4A49-AA36-F146703C69EF}">
      <dgm:prSet/>
      <dgm:spPr/>
      <dgm:t>
        <a:bodyPr/>
        <a:lstStyle/>
        <a:p>
          <a:endParaRPr lang="es-CL"/>
        </a:p>
      </dgm:t>
    </dgm:pt>
    <dgm:pt modelId="{F9BDD195-9873-4859-9E5A-366D4086EBC9}">
      <dgm:prSet custT="1"/>
      <dgm:spPr>
        <a:solidFill>
          <a:srgbClr val="B233D5"/>
        </a:solidFill>
      </dgm:spPr>
      <dgm:t>
        <a:bodyPr/>
        <a:lstStyle/>
        <a:p>
          <a:r>
            <a:rPr lang="es-CL" sz="2000" dirty="0"/>
            <a:t>RECAUDACIÓN</a:t>
          </a:r>
        </a:p>
      </dgm:t>
    </dgm:pt>
    <dgm:pt modelId="{A89CC6C9-14BA-401B-8443-BE2B227722C5}" type="parTrans" cxnId="{084421BF-DD3B-4890-9D87-C4E1D7C29747}">
      <dgm:prSet/>
      <dgm:spPr/>
      <dgm:t>
        <a:bodyPr/>
        <a:lstStyle/>
        <a:p>
          <a:endParaRPr lang="es-CL"/>
        </a:p>
      </dgm:t>
    </dgm:pt>
    <dgm:pt modelId="{99B011BA-4964-47D2-86CE-3546E15448AC}" type="sibTrans" cxnId="{084421BF-DD3B-4890-9D87-C4E1D7C29747}">
      <dgm:prSet/>
      <dgm:spPr/>
      <dgm:t>
        <a:bodyPr/>
        <a:lstStyle/>
        <a:p>
          <a:endParaRPr lang="es-CL"/>
        </a:p>
      </dgm:t>
    </dgm:pt>
    <dgm:pt modelId="{06866570-9937-4602-80F8-51DB56C03E75}">
      <dgm:prSet custT="1"/>
      <dgm:spPr>
        <a:solidFill>
          <a:srgbClr val="E7E7FF">
            <a:alpha val="89804"/>
          </a:srgbClr>
        </a:solidFill>
        <a:ln>
          <a:solidFill>
            <a:srgbClr val="770EB2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Objetivo: </a:t>
          </a:r>
          <a:r>
            <a:rPr lang="es-CL" sz="1100" b="0" dirty="0" smtClean="0">
              <a:solidFill>
                <a:srgbClr val="1B1B1B"/>
              </a:solidFill>
            </a:rPr>
            <a:t>Control de los ingresos por concepto de aranceles y multas de la autoridad sanitaria</a:t>
          </a:r>
          <a:endParaRPr lang="es-CL" sz="2000" b="0" dirty="0">
            <a:solidFill>
              <a:srgbClr val="1B1B1B"/>
            </a:solidFill>
          </a:endParaRPr>
        </a:p>
      </dgm:t>
    </dgm:pt>
    <dgm:pt modelId="{B784CD62-3076-425C-B3D6-396E8EFD4C85}" type="parTrans" cxnId="{59341204-84A7-49A8-B95D-4B6AAB2309D6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9AEED5E1-2059-4EC2-ABAD-2BA2880E5ED4}" type="sibTrans" cxnId="{59341204-84A7-49A8-B95D-4B6AAB2309D6}">
      <dgm:prSet/>
      <dgm:spPr/>
      <dgm:t>
        <a:bodyPr/>
        <a:lstStyle/>
        <a:p>
          <a:endParaRPr lang="es-CL"/>
        </a:p>
      </dgm:t>
    </dgm:pt>
    <dgm:pt modelId="{D2883BF8-8F9D-4EA2-8AF4-AD8BBBA155D8}">
      <dgm:prSet custT="1"/>
      <dgm:spPr>
        <a:solidFill>
          <a:srgbClr val="E7E7FF">
            <a:alpha val="90000"/>
          </a:srgbClr>
        </a:solidFill>
        <a:ln>
          <a:solidFill>
            <a:srgbClr val="770EB2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Referente: </a:t>
          </a:r>
          <a:r>
            <a:rPr lang="es-CL" sz="1100" b="0" dirty="0">
              <a:solidFill>
                <a:srgbClr val="1B1B1B"/>
              </a:solidFill>
            </a:rPr>
            <a:t>Ámbito finanzas central /DIFAI </a:t>
          </a:r>
        </a:p>
      </dgm:t>
    </dgm:pt>
    <dgm:pt modelId="{0076D393-258B-411F-9E1B-45EEB92551EE}" type="parTrans" cxnId="{5E86D010-5A1C-49FC-8919-E63C3A0F4C8E}">
      <dgm:prSet/>
      <dgm:spPr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endParaRPr lang="es-CL"/>
        </a:p>
      </dgm:t>
    </dgm:pt>
    <dgm:pt modelId="{091B76C2-98AD-4FDC-9433-2E707496C7E7}" type="sibTrans" cxnId="{5E86D010-5A1C-49FC-8919-E63C3A0F4C8E}">
      <dgm:prSet/>
      <dgm:spPr/>
      <dgm:t>
        <a:bodyPr/>
        <a:lstStyle/>
        <a:p>
          <a:endParaRPr lang="es-CL"/>
        </a:p>
      </dgm:t>
    </dgm:pt>
    <dgm:pt modelId="{F9B2E840-DE88-441B-8F8F-A2DE66ED0633}">
      <dgm:prSet custT="1"/>
      <dgm:spPr>
        <a:solidFill>
          <a:srgbClr val="D1F7EA">
            <a:alpha val="90000"/>
          </a:srgbClr>
        </a:solidFill>
        <a:ln>
          <a:solidFill>
            <a:srgbClr val="008080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Referente: </a:t>
          </a:r>
          <a:r>
            <a:rPr lang="es-CL" sz="1100" b="0" dirty="0">
              <a:solidFill>
                <a:srgbClr val="1B1B1B"/>
              </a:solidFill>
            </a:rPr>
            <a:t>Sus referentes pertenecen a DIPOL </a:t>
          </a:r>
        </a:p>
      </dgm:t>
    </dgm:pt>
    <dgm:pt modelId="{9521B682-538C-4B7C-8D37-8F635E3CEDCF}" type="parTrans" cxnId="{9488A6F3-A97B-4440-8CCF-1D1C8498DB65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C0B8BDFE-6B71-412F-87BA-AE560DB88854}" type="sibTrans" cxnId="{9488A6F3-A97B-4440-8CCF-1D1C8498DB65}">
      <dgm:prSet/>
      <dgm:spPr/>
      <dgm:t>
        <a:bodyPr/>
        <a:lstStyle/>
        <a:p>
          <a:endParaRPr lang="es-CL"/>
        </a:p>
      </dgm:t>
    </dgm:pt>
    <dgm:pt modelId="{79272D6E-260D-4233-BB8C-2615A79B2370}">
      <dgm:prSet custT="1"/>
      <dgm:spPr>
        <a:solidFill>
          <a:srgbClr val="FFE2C5">
            <a:alpha val="90000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Referente: </a:t>
          </a:r>
          <a:r>
            <a:rPr lang="es-CL" sz="1100" b="0" dirty="0">
              <a:solidFill>
                <a:srgbClr val="1B1B1B"/>
              </a:solidFill>
            </a:rPr>
            <a:t>Departamento Salud Mental / DIPRECE</a:t>
          </a:r>
          <a:endParaRPr lang="es-CL" sz="2000" b="0" dirty="0">
            <a:solidFill>
              <a:srgbClr val="1B1B1B"/>
            </a:solidFill>
          </a:endParaRPr>
        </a:p>
      </dgm:t>
    </dgm:pt>
    <dgm:pt modelId="{DCC9AE9E-E07F-4170-A9FA-84A7499D7727}" type="parTrans" cxnId="{2FCEB088-16D6-47CC-8CDA-D10E0FE24B49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071D1648-D77A-43D6-BA13-C7FC8C12C3C7}" type="sibTrans" cxnId="{2FCEB088-16D6-47CC-8CDA-D10E0FE24B49}">
      <dgm:prSet/>
      <dgm:spPr/>
      <dgm:t>
        <a:bodyPr/>
        <a:lstStyle/>
        <a:p>
          <a:endParaRPr lang="es-CL"/>
        </a:p>
      </dgm:t>
    </dgm:pt>
    <dgm:pt modelId="{C56710DF-7A83-4F98-B90E-671C2AA7E0FD}">
      <dgm:prSet custT="1"/>
      <dgm:spPr>
        <a:solidFill>
          <a:srgbClr val="D1F7EA">
            <a:alpha val="90000"/>
          </a:srgbClr>
        </a:solidFill>
        <a:ln>
          <a:solidFill>
            <a:srgbClr val="008080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Impacto (+): </a:t>
          </a:r>
          <a:r>
            <a:rPr lang="es-CL" sz="1100" b="0" dirty="0">
              <a:solidFill>
                <a:srgbClr val="1B1B1B"/>
              </a:solidFill>
            </a:rPr>
            <a:t>Digitalización de trámites de la autoridad sanitaria  </a:t>
          </a:r>
        </a:p>
      </dgm:t>
    </dgm:pt>
    <dgm:pt modelId="{ADB013F8-898F-4BBA-9FDB-6B9AEDAC8C5C}" type="parTrans" cxnId="{8D50B8C6-C59D-4809-B6C7-D2A414E53476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2006F637-53B8-4FE9-8CE1-A388B5E2D5B6}" type="sibTrans" cxnId="{8D50B8C6-C59D-4809-B6C7-D2A414E53476}">
      <dgm:prSet/>
      <dgm:spPr/>
      <dgm:t>
        <a:bodyPr/>
        <a:lstStyle/>
        <a:p>
          <a:endParaRPr lang="es-CL"/>
        </a:p>
      </dgm:t>
    </dgm:pt>
    <dgm:pt modelId="{D25524BB-BA01-4625-A17E-1375E25926A9}">
      <dgm:prSet custT="1"/>
      <dgm:spPr>
        <a:solidFill>
          <a:srgbClr val="E7E7FF">
            <a:alpha val="90000"/>
          </a:srgbClr>
        </a:solidFill>
        <a:ln>
          <a:solidFill>
            <a:srgbClr val="770EB2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Impacto </a:t>
          </a:r>
          <a:r>
            <a:rPr lang="es-CL" sz="1100" b="1" dirty="0" smtClean="0">
              <a:solidFill>
                <a:srgbClr val="1B1B1B"/>
              </a:solidFill>
            </a:rPr>
            <a:t>(+):2018</a:t>
          </a:r>
        </a:p>
        <a:p>
          <a:pPr algn="ctr"/>
          <a:r>
            <a:rPr lang="es-ES" sz="1200" b="1" dirty="0" smtClean="0">
              <a:solidFill>
                <a:srgbClr val="1B1B1B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$35.585.737.400 </a:t>
          </a:r>
          <a:endParaRPr lang="es-CL" sz="1200" b="0" dirty="0">
            <a:solidFill>
              <a:srgbClr val="1B1B1B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7642F327-1072-4DD7-8085-E4BEF0F7CEF6}" type="parTrans" cxnId="{14FE2990-FBFB-4DD4-85C4-3C412A17E776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F0379A5C-83CD-400E-BCC1-D6666301BB20}" type="sibTrans" cxnId="{14FE2990-FBFB-4DD4-85C4-3C412A17E776}">
      <dgm:prSet/>
      <dgm:spPr/>
      <dgm:t>
        <a:bodyPr/>
        <a:lstStyle/>
        <a:p>
          <a:endParaRPr lang="es-CL"/>
        </a:p>
      </dgm:t>
    </dgm:pt>
    <dgm:pt modelId="{0EF02B3D-83A1-4FFD-9A2F-B47840B73872}">
      <dgm:prSet phldrT="[Texto]"/>
      <dgm:spPr>
        <a:solidFill>
          <a:schemeClr val="accent3"/>
        </a:solidFill>
      </dgm:spPr>
      <dgm:t>
        <a:bodyPr/>
        <a:lstStyle/>
        <a:p>
          <a:r>
            <a:rPr lang="es-CL" dirty="0"/>
            <a:t>MORDEDORES</a:t>
          </a:r>
        </a:p>
      </dgm:t>
    </dgm:pt>
    <dgm:pt modelId="{4850EE69-15BE-4D5B-80D3-CC9D2E4DD202}" type="parTrans" cxnId="{A15A636A-D352-4DCF-BA62-3F9090E6744D}">
      <dgm:prSet/>
      <dgm:spPr/>
      <dgm:t>
        <a:bodyPr/>
        <a:lstStyle/>
        <a:p>
          <a:endParaRPr lang="es-ES"/>
        </a:p>
      </dgm:t>
    </dgm:pt>
    <dgm:pt modelId="{811107CF-E72B-46D2-A73C-4BF41D68B7EB}" type="sibTrans" cxnId="{A15A636A-D352-4DCF-BA62-3F9090E6744D}">
      <dgm:prSet/>
      <dgm:spPr/>
      <dgm:t>
        <a:bodyPr/>
        <a:lstStyle/>
        <a:p>
          <a:endParaRPr lang="es-ES"/>
        </a:p>
      </dgm:t>
    </dgm:pt>
    <dgm:pt modelId="{25E13BD1-56C0-42FE-BA2F-BEAAB3C503DF}">
      <dgm:prSet phldrT="[Texto]" custT="1"/>
      <dgm:spPr>
        <a:solidFill>
          <a:schemeClr val="accent3">
            <a:lumMod val="20000"/>
            <a:lumOff val="80000"/>
          </a:scheme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Objetivo: </a:t>
          </a:r>
          <a:r>
            <a:rPr lang="es-CL" sz="1100" b="1" dirty="0" smtClean="0">
              <a:solidFill>
                <a:srgbClr val="1B1B1B"/>
              </a:solidFill>
            </a:rPr>
            <a:t>Vigilancia de la rabia: </a:t>
          </a:r>
          <a:r>
            <a:rPr lang="es-CL" sz="1100" b="0" dirty="0" smtClean="0">
              <a:solidFill>
                <a:srgbClr val="1B1B1B"/>
              </a:solidFill>
            </a:rPr>
            <a:t>Permite el registro de notificación de las mordeduras por los establecimientos de salud.</a:t>
          </a:r>
          <a:endParaRPr lang="es-CL" sz="1100" b="0" dirty="0">
            <a:solidFill>
              <a:srgbClr val="1B1B1B"/>
            </a:solidFill>
          </a:endParaRPr>
        </a:p>
      </dgm:t>
    </dgm:pt>
    <dgm:pt modelId="{1E5F0F43-65C0-4966-8B94-68557E8A8FD2}" type="parTrans" cxnId="{D3AF7A4D-D5F4-47D8-89C8-5158F758A0B5}">
      <dgm:prSet/>
      <dgm:spPr>
        <a:solidFill>
          <a:schemeClr val="tx1">
            <a:lumMod val="65000"/>
          </a:schemeClr>
        </a:solidFill>
      </dgm:spPr>
      <dgm:t>
        <a:bodyPr/>
        <a:lstStyle/>
        <a:p>
          <a:endParaRPr lang="es-ES"/>
        </a:p>
      </dgm:t>
    </dgm:pt>
    <dgm:pt modelId="{7A023CD7-1392-47DC-8282-82672F3B8E94}" type="sibTrans" cxnId="{D3AF7A4D-D5F4-47D8-89C8-5158F758A0B5}">
      <dgm:prSet/>
      <dgm:spPr/>
      <dgm:t>
        <a:bodyPr/>
        <a:lstStyle/>
        <a:p>
          <a:endParaRPr lang="es-ES"/>
        </a:p>
      </dgm:t>
    </dgm:pt>
    <dgm:pt modelId="{0652A6FA-76B7-41E1-B1A3-B5123CD36F17}">
      <dgm:prSet phldrT="[Texto]" custT="1"/>
      <dgm:spPr>
        <a:solidFill>
          <a:schemeClr val="accent3">
            <a:lumMod val="20000"/>
            <a:lumOff val="80000"/>
          </a:scheme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0" dirty="0" smtClean="0">
              <a:solidFill>
                <a:srgbClr val="1B1B1B"/>
              </a:solidFill>
              <a:latin typeface="+mn-lt"/>
            </a:rPr>
            <a:t>El registro de la observación del animal mordedor vista en terreno con una aplicación móvil</a:t>
          </a:r>
          <a:endParaRPr lang="es-CL" sz="1100" dirty="0">
            <a:solidFill>
              <a:srgbClr val="1B1B1B"/>
            </a:solidFill>
            <a:latin typeface="+mn-lt"/>
          </a:endParaRPr>
        </a:p>
      </dgm:t>
    </dgm:pt>
    <dgm:pt modelId="{08100822-BC5B-4759-A7E9-192366A480EC}" type="parTrans" cxnId="{9E90FAA3-508C-4730-99DB-54D644437BB6}">
      <dgm:prSet/>
      <dgm:spPr/>
      <dgm:t>
        <a:bodyPr/>
        <a:lstStyle/>
        <a:p>
          <a:endParaRPr lang="es-ES"/>
        </a:p>
      </dgm:t>
    </dgm:pt>
    <dgm:pt modelId="{6EFF2A5B-9495-4B97-B181-9FFD9E1CE878}" type="sibTrans" cxnId="{9E90FAA3-508C-4730-99DB-54D644437BB6}">
      <dgm:prSet/>
      <dgm:spPr/>
      <dgm:t>
        <a:bodyPr/>
        <a:lstStyle/>
        <a:p>
          <a:endParaRPr lang="es-ES"/>
        </a:p>
      </dgm:t>
    </dgm:pt>
    <dgm:pt modelId="{520B5CD5-F714-4B4A-B448-3DC58E282121}">
      <dgm:prSet custT="1"/>
      <dgm:spPr>
        <a:solidFill>
          <a:schemeClr val="accent3">
            <a:lumMod val="20000"/>
            <a:lumOff val="80000"/>
          </a:scheme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0" dirty="0" smtClean="0">
              <a:solidFill>
                <a:srgbClr val="1B1B1B"/>
              </a:solidFill>
            </a:rPr>
            <a:t>Control de vacunas </a:t>
          </a:r>
          <a:r>
            <a:rPr lang="es-CL" sz="1100" b="0" dirty="0" err="1" smtClean="0">
              <a:solidFill>
                <a:srgbClr val="1B1B1B"/>
              </a:solidFill>
            </a:rPr>
            <a:t>antirrabicas</a:t>
          </a:r>
          <a:endParaRPr lang="es-CL" sz="1100" b="0" dirty="0">
            <a:solidFill>
              <a:srgbClr val="1B1B1B"/>
            </a:solidFill>
          </a:endParaRPr>
        </a:p>
      </dgm:t>
    </dgm:pt>
    <dgm:pt modelId="{FDF90672-9DCC-49A1-88EC-47C6EE561620}" type="parTrans" cxnId="{C75D838A-86D1-4B65-8930-1949EE676174}">
      <dgm:prSet/>
      <dgm:spPr>
        <a:solidFill>
          <a:schemeClr val="tx1">
            <a:lumMod val="65000"/>
          </a:schemeClr>
        </a:solidFill>
      </dgm:spPr>
      <dgm:t>
        <a:bodyPr/>
        <a:lstStyle/>
        <a:p>
          <a:endParaRPr lang="es-ES"/>
        </a:p>
      </dgm:t>
    </dgm:pt>
    <dgm:pt modelId="{D233F710-192A-459E-BA1E-4B4627B47C7D}" type="sibTrans" cxnId="{C75D838A-86D1-4B65-8930-1949EE676174}">
      <dgm:prSet/>
      <dgm:spPr/>
      <dgm:t>
        <a:bodyPr/>
        <a:lstStyle/>
        <a:p>
          <a:endParaRPr lang="es-ES"/>
        </a:p>
      </dgm:t>
    </dgm:pt>
    <dgm:pt modelId="{ADD12BED-F60A-4423-9A67-D1C09AA09E3B}">
      <dgm:prSet custT="1"/>
      <dgm:spPr>
        <a:solidFill>
          <a:schemeClr val="accent3">
            <a:lumMod val="20000"/>
            <a:lumOff val="80000"/>
          </a:scheme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 smtClean="0">
              <a:solidFill>
                <a:srgbClr val="1B1B1B"/>
              </a:solidFill>
            </a:rPr>
            <a:t>Zoonosis: </a:t>
          </a:r>
          <a:r>
            <a:rPr lang="es-CL" sz="1100" b="0" dirty="0" smtClean="0">
              <a:solidFill>
                <a:srgbClr val="1B1B1B"/>
              </a:solidFill>
            </a:rPr>
            <a:t>Control de foco/registro de enfermedades </a:t>
          </a:r>
          <a:r>
            <a:rPr lang="es-CL" sz="1100" b="0" dirty="0" err="1" smtClean="0">
              <a:solidFill>
                <a:srgbClr val="1B1B1B"/>
              </a:solidFill>
            </a:rPr>
            <a:t>zoonóticas</a:t>
          </a:r>
          <a:r>
            <a:rPr lang="es-CL" sz="1100" b="0" dirty="0" smtClean="0">
              <a:solidFill>
                <a:srgbClr val="1B1B1B"/>
              </a:solidFill>
            </a:rPr>
            <a:t>/control sanitario de vacunas/ interoperabilidad </a:t>
          </a:r>
          <a:r>
            <a:rPr lang="es-CL" sz="1100" b="0" dirty="0" err="1" smtClean="0">
              <a:solidFill>
                <a:srgbClr val="1B1B1B"/>
              </a:solidFill>
            </a:rPr>
            <a:t>segpre</a:t>
          </a:r>
          <a:endParaRPr lang="es-CL" sz="1100" b="0" dirty="0">
            <a:solidFill>
              <a:srgbClr val="1B1B1B"/>
            </a:solidFill>
          </a:endParaRPr>
        </a:p>
      </dgm:t>
    </dgm:pt>
    <dgm:pt modelId="{F2B45D32-39B9-4690-B88E-99730CFCA1C4}" type="parTrans" cxnId="{3BBCF73E-7E5F-4F97-A8E5-EF645B5A97D3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8B5ACE47-F3AF-4EF9-8217-E9256EF969C5}" type="sibTrans" cxnId="{3BBCF73E-7E5F-4F97-A8E5-EF645B5A97D3}">
      <dgm:prSet/>
      <dgm:spPr/>
      <dgm:t>
        <a:bodyPr/>
        <a:lstStyle/>
        <a:p>
          <a:endParaRPr lang="es-ES"/>
        </a:p>
      </dgm:t>
    </dgm:pt>
    <dgm:pt modelId="{9B7985EC-B0EF-4343-B642-77C28343B400}" type="pres">
      <dgm:prSet presAssocID="{C1FBEED3-01B1-46F3-B957-C11B257F1AE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ES"/>
        </a:p>
      </dgm:t>
    </dgm:pt>
    <dgm:pt modelId="{E0EA4377-9324-445C-BE79-82DCA49297B7}" type="pres">
      <dgm:prSet presAssocID="{CF0A68FE-74EF-4AA2-9ED9-7B01612DF642}" presName="root" presStyleCnt="0"/>
      <dgm:spPr/>
    </dgm:pt>
    <dgm:pt modelId="{B65F52D6-B171-48CC-A37C-D69CDDA68680}" type="pres">
      <dgm:prSet presAssocID="{CF0A68FE-74EF-4AA2-9ED9-7B01612DF642}" presName="rootComposite" presStyleCnt="0"/>
      <dgm:spPr/>
    </dgm:pt>
    <dgm:pt modelId="{7A36CD1C-4CDD-455D-9997-CCE8CF7F334A}" type="pres">
      <dgm:prSet presAssocID="{CF0A68FE-74EF-4AA2-9ED9-7B01612DF642}" presName="rootText" presStyleLbl="node1" presStyleIdx="0" presStyleCnt="4" custScaleX="137956" custLinFactNeighborX="6781" custLinFactNeighborY="-28920"/>
      <dgm:spPr/>
      <dgm:t>
        <a:bodyPr/>
        <a:lstStyle/>
        <a:p>
          <a:endParaRPr lang="es-ES"/>
        </a:p>
      </dgm:t>
    </dgm:pt>
    <dgm:pt modelId="{2F95051D-7999-4B57-B62B-0A8E93ED2CF3}" type="pres">
      <dgm:prSet presAssocID="{CF0A68FE-74EF-4AA2-9ED9-7B01612DF642}" presName="rootConnector" presStyleLbl="node1" presStyleIdx="0" presStyleCnt="4"/>
      <dgm:spPr/>
      <dgm:t>
        <a:bodyPr/>
        <a:lstStyle/>
        <a:p>
          <a:endParaRPr lang="es-ES"/>
        </a:p>
      </dgm:t>
    </dgm:pt>
    <dgm:pt modelId="{90052C28-923F-4976-8A30-1CBD34BA8232}" type="pres">
      <dgm:prSet presAssocID="{CF0A68FE-74EF-4AA2-9ED9-7B01612DF642}" presName="childShape" presStyleCnt="0"/>
      <dgm:spPr/>
    </dgm:pt>
    <dgm:pt modelId="{E0CA4CE8-DF13-4590-987B-E1F14878D0D0}" type="pres">
      <dgm:prSet presAssocID="{A3E631B7-9209-4F79-8B7D-78DADD695CB6}" presName="Name13" presStyleLbl="parChTrans1D2" presStyleIdx="0" presStyleCnt="13"/>
      <dgm:spPr/>
      <dgm:t>
        <a:bodyPr/>
        <a:lstStyle/>
        <a:p>
          <a:endParaRPr lang="es-ES"/>
        </a:p>
      </dgm:t>
    </dgm:pt>
    <dgm:pt modelId="{425CC0D6-A987-4F3E-A514-4EB36E1C05A6}" type="pres">
      <dgm:prSet presAssocID="{19776E37-EBC8-420B-8C42-4ADFECCD7262}" presName="childText" presStyleLbl="bgAcc1" presStyleIdx="0" presStyleCnt="13" custScaleX="140148" custScaleY="194493" custLinFactNeighborX="848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090B7D8-B3E0-4B2F-AFC1-6E82D4E32AFB}" type="pres">
      <dgm:prSet presAssocID="{9521B682-538C-4B7C-8D37-8F635E3CEDCF}" presName="Name13" presStyleLbl="parChTrans1D2" presStyleIdx="1" presStyleCnt="13"/>
      <dgm:spPr/>
      <dgm:t>
        <a:bodyPr/>
        <a:lstStyle/>
        <a:p>
          <a:endParaRPr lang="es-ES"/>
        </a:p>
      </dgm:t>
    </dgm:pt>
    <dgm:pt modelId="{52FB85B1-0560-4612-929C-E666117661C5}" type="pres">
      <dgm:prSet presAssocID="{F9B2E840-DE88-441B-8F8F-A2DE66ED0633}" presName="childText" presStyleLbl="bgAcc1" presStyleIdx="1" presStyleCnt="13" custScaleX="138551" custLinFactNeighborX="8485" custLinFactNeighborY="151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31CFEE3-EF12-4482-A39F-04BAC3EAFDD4}" type="pres">
      <dgm:prSet presAssocID="{ADB013F8-898F-4BBA-9FDB-6B9AEDAC8C5C}" presName="Name13" presStyleLbl="parChTrans1D2" presStyleIdx="2" presStyleCnt="13"/>
      <dgm:spPr/>
      <dgm:t>
        <a:bodyPr/>
        <a:lstStyle/>
        <a:p>
          <a:endParaRPr lang="es-ES"/>
        </a:p>
      </dgm:t>
    </dgm:pt>
    <dgm:pt modelId="{EF2D5B3F-8873-4D01-A72A-E045084A3BEB}" type="pres">
      <dgm:prSet presAssocID="{C56710DF-7A83-4F98-B90E-671C2AA7E0FD}" presName="childText" presStyleLbl="bgAcc1" presStyleIdx="2" presStyleCnt="13" custScaleX="135684" custLinFactNeighborX="848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8A096D9-1EFA-44CE-ABCA-781100FE0571}" type="pres">
      <dgm:prSet presAssocID="{F9BDD195-9873-4859-9E5A-366D4086EBC9}" presName="root" presStyleCnt="0"/>
      <dgm:spPr/>
    </dgm:pt>
    <dgm:pt modelId="{C19C8F78-A25C-447B-AB15-580F4CDF29EF}" type="pres">
      <dgm:prSet presAssocID="{F9BDD195-9873-4859-9E5A-366D4086EBC9}" presName="rootComposite" presStyleCnt="0"/>
      <dgm:spPr/>
    </dgm:pt>
    <dgm:pt modelId="{7B33427B-A5D7-45FA-9C9F-3604B9916F97}" type="pres">
      <dgm:prSet presAssocID="{F9BDD195-9873-4859-9E5A-366D4086EBC9}" presName="rootText" presStyleLbl="node1" presStyleIdx="1" presStyleCnt="4" custScaleX="140431" custLinFactNeighborX="495" custLinFactNeighborY="-28920"/>
      <dgm:spPr/>
      <dgm:t>
        <a:bodyPr/>
        <a:lstStyle/>
        <a:p>
          <a:endParaRPr lang="es-ES"/>
        </a:p>
      </dgm:t>
    </dgm:pt>
    <dgm:pt modelId="{153432B2-7305-4E7F-98B3-29ECE0996D08}" type="pres">
      <dgm:prSet presAssocID="{F9BDD195-9873-4859-9E5A-366D4086EBC9}" presName="rootConnector" presStyleLbl="node1" presStyleIdx="1" presStyleCnt="4"/>
      <dgm:spPr/>
      <dgm:t>
        <a:bodyPr/>
        <a:lstStyle/>
        <a:p>
          <a:endParaRPr lang="es-ES"/>
        </a:p>
      </dgm:t>
    </dgm:pt>
    <dgm:pt modelId="{8D01CE45-FB71-4B2F-8080-03B1F5F4DEB5}" type="pres">
      <dgm:prSet presAssocID="{F9BDD195-9873-4859-9E5A-366D4086EBC9}" presName="childShape" presStyleCnt="0"/>
      <dgm:spPr/>
    </dgm:pt>
    <dgm:pt modelId="{84099D88-DA45-493B-BC00-2EF75A9E221B}" type="pres">
      <dgm:prSet presAssocID="{B784CD62-3076-425C-B3D6-396E8EFD4C85}" presName="Name13" presStyleLbl="parChTrans1D2" presStyleIdx="3" presStyleCnt="13"/>
      <dgm:spPr/>
      <dgm:t>
        <a:bodyPr/>
        <a:lstStyle/>
        <a:p>
          <a:endParaRPr lang="es-ES"/>
        </a:p>
      </dgm:t>
    </dgm:pt>
    <dgm:pt modelId="{1D40BAC0-730F-468C-A268-4CE337B40F55}" type="pres">
      <dgm:prSet presAssocID="{06866570-9937-4602-80F8-51DB56C03E75}" presName="childText" presStyleLbl="bgAcc1" presStyleIdx="3" presStyleCnt="13" custScaleX="110664" custScaleY="132156" custLinFactNeighborX="792" custLinFactNeighborY="-172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D8356AA-4FF3-4C94-86D4-33D7492D9366}" type="pres">
      <dgm:prSet presAssocID="{0076D393-258B-411F-9E1B-45EEB92551EE}" presName="Name13" presStyleLbl="parChTrans1D2" presStyleIdx="4" presStyleCnt="13"/>
      <dgm:spPr/>
      <dgm:t>
        <a:bodyPr/>
        <a:lstStyle/>
        <a:p>
          <a:endParaRPr lang="es-ES"/>
        </a:p>
      </dgm:t>
    </dgm:pt>
    <dgm:pt modelId="{A9500BED-E339-42BC-86E0-49507C8F2259}" type="pres">
      <dgm:prSet presAssocID="{D2883BF8-8F9D-4EA2-8AF4-AD8BBBA155D8}" presName="childText" presStyleLbl="bgAcc1" presStyleIdx="4" presStyleCnt="13" custScaleX="110338" custScaleY="103374" custLinFactNeighborX="-1203" custLinFactNeighborY="-172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094DAF6-161A-48A6-B978-DABD7441AB19}" type="pres">
      <dgm:prSet presAssocID="{7642F327-1072-4DD7-8085-E4BEF0F7CEF6}" presName="Name13" presStyleLbl="parChTrans1D2" presStyleIdx="5" presStyleCnt="13"/>
      <dgm:spPr/>
      <dgm:t>
        <a:bodyPr/>
        <a:lstStyle/>
        <a:p>
          <a:endParaRPr lang="es-ES"/>
        </a:p>
      </dgm:t>
    </dgm:pt>
    <dgm:pt modelId="{AF282591-F9D6-4D71-87B7-F071E96D36ED}" type="pres">
      <dgm:prSet presAssocID="{D25524BB-BA01-4625-A17E-1375E25926A9}" presName="childText" presStyleLbl="bgAcc1" presStyleIdx="5" presStyleCnt="13" custScaleX="114313" custScaleY="95481" custLinFactNeighborX="-3191" custLinFactNeighborY="-172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5D23DC3-E02C-43C3-AF6A-33F3523254CB}" type="pres">
      <dgm:prSet presAssocID="{8746147D-8DC9-41D2-AF76-E3393A23BB17}" presName="root" presStyleCnt="0"/>
      <dgm:spPr/>
    </dgm:pt>
    <dgm:pt modelId="{4C2EB443-896C-4637-8823-9D5A5242112F}" type="pres">
      <dgm:prSet presAssocID="{8746147D-8DC9-41D2-AF76-E3393A23BB17}" presName="rootComposite" presStyleCnt="0"/>
      <dgm:spPr/>
    </dgm:pt>
    <dgm:pt modelId="{4A1F2038-FA57-4AC2-8252-3ACCDA100695}" type="pres">
      <dgm:prSet presAssocID="{8746147D-8DC9-41D2-AF76-E3393A23BB17}" presName="rootText" presStyleLbl="node1" presStyleIdx="2" presStyleCnt="4" custScaleX="109551" custScaleY="102035" custLinFactNeighborX="-7685" custLinFactNeighborY="-28920"/>
      <dgm:spPr/>
      <dgm:t>
        <a:bodyPr/>
        <a:lstStyle/>
        <a:p>
          <a:endParaRPr lang="es-ES"/>
        </a:p>
      </dgm:t>
    </dgm:pt>
    <dgm:pt modelId="{4A494DA0-FA72-44E1-902B-A8B74A7AFC5A}" type="pres">
      <dgm:prSet presAssocID="{8746147D-8DC9-41D2-AF76-E3393A23BB17}" presName="rootConnector" presStyleLbl="node1" presStyleIdx="2" presStyleCnt="4"/>
      <dgm:spPr/>
      <dgm:t>
        <a:bodyPr/>
        <a:lstStyle/>
        <a:p>
          <a:endParaRPr lang="es-ES"/>
        </a:p>
      </dgm:t>
    </dgm:pt>
    <dgm:pt modelId="{B1CED59B-0E8C-4780-AF03-6A8D8134D1DC}" type="pres">
      <dgm:prSet presAssocID="{8746147D-8DC9-41D2-AF76-E3393A23BB17}" presName="childShape" presStyleCnt="0"/>
      <dgm:spPr/>
    </dgm:pt>
    <dgm:pt modelId="{80AEAD2E-F332-49ED-B347-BB757F2051EC}" type="pres">
      <dgm:prSet presAssocID="{1DCA5167-A940-4F7B-9438-7F81018BACA0}" presName="Name13" presStyleLbl="parChTrans1D2" presStyleIdx="6" presStyleCnt="13"/>
      <dgm:spPr/>
      <dgm:t>
        <a:bodyPr/>
        <a:lstStyle/>
        <a:p>
          <a:endParaRPr lang="es-ES"/>
        </a:p>
      </dgm:t>
    </dgm:pt>
    <dgm:pt modelId="{514CCD24-1E2C-453D-BF22-88DF87AF73A9}" type="pres">
      <dgm:prSet presAssocID="{145DC95C-343A-4833-828F-640ECE557A3C}" presName="childText" presStyleLbl="bgAcc1" presStyleIdx="6" presStyleCnt="13" custScaleX="121586" custScaleY="184359" custLinFactNeighborX="-7763" custLinFactNeighborY="-151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C4AE9B6-DFD3-48C1-9A53-5B6F93D311A8}" type="pres">
      <dgm:prSet presAssocID="{DC38496F-F34A-4653-960F-5BF8B21424EF}" presName="Name13" presStyleLbl="parChTrans1D2" presStyleIdx="7" presStyleCnt="13"/>
      <dgm:spPr/>
      <dgm:t>
        <a:bodyPr/>
        <a:lstStyle/>
        <a:p>
          <a:endParaRPr lang="es-ES"/>
        </a:p>
      </dgm:t>
    </dgm:pt>
    <dgm:pt modelId="{B3A7663D-4801-4EEA-BC36-9D7BE3DC1324}" type="pres">
      <dgm:prSet presAssocID="{9A2BBAB2-C159-4901-841E-042B80A8B630}" presName="childText" presStyleLbl="bgAcc1" presStyleIdx="7" presStyleCnt="13" custScaleX="122741" custScaleY="193255" custLinFactNeighborX="-5735" custLinFactNeighborY="16329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53F0568-A673-45CB-95BE-4F77D8A4A58F}" type="pres">
      <dgm:prSet presAssocID="{DCC9AE9E-E07F-4170-A9FA-84A7499D7727}" presName="Name13" presStyleLbl="parChTrans1D2" presStyleIdx="8" presStyleCnt="13"/>
      <dgm:spPr/>
      <dgm:t>
        <a:bodyPr/>
        <a:lstStyle/>
        <a:p>
          <a:endParaRPr lang="es-ES"/>
        </a:p>
      </dgm:t>
    </dgm:pt>
    <dgm:pt modelId="{2BC3C2DE-9EAD-4869-A336-94FDD377E048}" type="pres">
      <dgm:prSet presAssocID="{79272D6E-260D-4233-BB8C-2615A79B2370}" presName="childText" presStyleLbl="bgAcc1" presStyleIdx="8" presStyleCnt="13" custScaleX="119584" custScaleY="103413" custLinFactNeighborX="-5239" custLinFactNeighborY="2339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263971E-A094-4BE1-B6FF-B01FD356816F}" type="pres">
      <dgm:prSet presAssocID="{0EF02B3D-83A1-4FFD-9A2F-B47840B73872}" presName="root" presStyleCnt="0"/>
      <dgm:spPr/>
    </dgm:pt>
    <dgm:pt modelId="{99861FEE-40ED-4928-B757-A2A60C7294F7}" type="pres">
      <dgm:prSet presAssocID="{0EF02B3D-83A1-4FFD-9A2F-B47840B73872}" presName="rootComposite" presStyleCnt="0"/>
      <dgm:spPr/>
    </dgm:pt>
    <dgm:pt modelId="{1E16444F-7FBB-4384-AD05-F603ADBD0287}" type="pres">
      <dgm:prSet presAssocID="{0EF02B3D-83A1-4FFD-9A2F-B47840B73872}" presName="rootText" presStyleLbl="node1" presStyleIdx="3" presStyleCnt="4" custScaleX="115321" custScaleY="97518" custLinFactNeighborX="-10112" custLinFactNeighborY="-28920"/>
      <dgm:spPr/>
      <dgm:t>
        <a:bodyPr/>
        <a:lstStyle/>
        <a:p>
          <a:endParaRPr lang="es-ES"/>
        </a:p>
      </dgm:t>
    </dgm:pt>
    <dgm:pt modelId="{C6B16B97-322B-4EFB-9025-80A8D081D67C}" type="pres">
      <dgm:prSet presAssocID="{0EF02B3D-83A1-4FFD-9A2F-B47840B73872}" presName="rootConnector" presStyleLbl="node1" presStyleIdx="3" presStyleCnt="4"/>
      <dgm:spPr/>
      <dgm:t>
        <a:bodyPr/>
        <a:lstStyle/>
        <a:p>
          <a:endParaRPr lang="es-ES"/>
        </a:p>
      </dgm:t>
    </dgm:pt>
    <dgm:pt modelId="{694019B7-50B2-4D69-AC56-1900471865C6}" type="pres">
      <dgm:prSet presAssocID="{0EF02B3D-83A1-4FFD-9A2F-B47840B73872}" presName="childShape" presStyleCnt="0"/>
      <dgm:spPr/>
    </dgm:pt>
    <dgm:pt modelId="{3468509C-395C-4CAA-8031-56300B0F5235}" type="pres">
      <dgm:prSet presAssocID="{1E5F0F43-65C0-4966-8B94-68557E8A8FD2}" presName="Name13" presStyleLbl="parChTrans1D2" presStyleIdx="9" presStyleCnt="13"/>
      <dgm:spPr/>
      <dgm:t>
        <a:bodyPr/>
        <a:lstStyle/>
        <a:p>
          <a:endParaRPr lang="es-ES"/>
        </a:p>
      </dgm:t>
    </dgm:pt>
    <dgm:pt modelId="{32CF6715-6666-40F0-95F7-7B160E03C7CC}" type="pres">
      <dgm:prSet presAssocID="{25E13BD1-56C0-42FE-BA2F-BEAAB3C503DF}" presName="childText" presStyleLbl="bgAcc1" presStyleIdx="9" presStyleCnt="13" custScaleX="128382" custScaleY="115875" custLinFactNeighborX="-13811" custLinFactNeighborY="93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6304A66-8EF0-46E0-A0F4-2DF3234AD846}" type="pres">
      <dgm:prSet presAssocID="{08100822-BC5B-4759-A7E9-192366A480EC}" presName="Name13" presStyleLbl="parChTrans1D2" presStyleIdx="10" presStyleCnt="13"/>
      <dgm:spPr/>
      <dgm:t>
        <a:bodyPr/>
        <a:lstStyle/>
        <a:p>
          <a:endParaRPr lang="es-ES"/>
        </a:p>
      </dgm:t>
    </dgm:pt>
    <dgm:pt modelId="{39EB9B09-F3A1-4BBA-BC84-08C74AB13F65}" type="pres">
      <dgm:prSet presAssocID="{0652A6FA-76B7-41E1-B1A3-B5123CD36F17}" presName="childText" presStyleLbl="bgAcc1" presStyleIdx="10" presStyleCnt="13" custScaleX="130083" custScaleY="127368" custLinFactNeighborX="-13130" custLinFactNeighborY="9359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1A0268F-B372-4F1C-BDD7-D8778538F1BD}" type="pres">
      <dgm:prSet presAssocID="{FDF90672-9DCC-49A1-88EC-47C6EE561620}" presName="Name13" presStyleLbl="parChTrans1D2" presStyleIdx="11" presStyleCnt="13"/>
      <dgm:spPr/>
      <dgm:t>
        <a:bodyPr/>
        <a:lstStyle/>
        <a:p>
          <a:endParaRPr lang="es-ES"/>
        </a:p>
      </dgm:t>
    </dgm:pt>
    <dgm:pt modelId="{6BBB35D1-D584-4E83-ACBD-497A735838F3}" type="pres">
      <dgm:prSet presAssocID="{520B5CD5-F714-4B4A-B448-3DC58E282121}" presName="childText" presStyleLbl="bgAcc1" presStyleIdx="11" presStyleCnt="13" custScaleX="124616" custLinFactNeighborX="-12035" custLinFactNeighborY="1263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905323C-1E59-4D05-AA1E-B7EE7C23098B}" type="pres">
      <dgm:prSet presAssocID="{F2B45D32-39B9-4690-B88E-99730CFCA1C4}" presName="Name13" presStyleLbl="parChTrans1D2" presStyleIdx="12" presStyleCnt="13"/>
      <dgm:spPr/>
      <dgm:t>
        <a:bodyPr/>
        <a:lstStyle/>
        <a:p>
          <a:endParaRPr lang="es-ES"/>
        </a:p>
      </dgm:t>
    </dgm:pt>
    <dgm:pt modelId="{41871421-70EC-4E35-ACE6-5F0BE47759C5}" type="pres">
      <dgm:prSet presAssocID="{ADD12BED-F60A-4423-9A67-D1C09AA09E3B}" presName="childText" presStyleLbl="bgAcc1" presStyleIdx="12" presStyleCnt="13" custScaleX="129020" custScaleY="145836" custLinFactNeighborX="-14237" custLinFactNeighborY="9449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8977672D-D4C7-4C53-B7ED-7823D7954898}" type="presOf" srcId="{25E13BD1-56C0-42FE-BA2F-BEAAB3C503DF}" destId="{32CF6715-6666-40F0-95F7-7B160E03C7CC}" srcOrd="0" destOrd="0" presId="urn:microsoft.com/office/officeart/2005/8/layout/hierarchy3"/>
    <dgm:cxn modelId="{BB081215-FA1A-4D7C-88AA-3D800D80FF0B}" type="presOf" srcId="{08100822-BC5B-4759-A7E9-192366A480EC}" destId="{46304A66-8EF0-46E0-A0F4-2DF3234AD846}" srcOrd="0" destOrd="0" presId="urn:microsoft.com/office/officeart/2005/8/layout/hierarchy3"/>
    <dgm:cxn modelId="{CEFEB98B-2849-4D21-B7E6-02FCDD8AA790}" type="presOf" srcId="{8746147D-8DC9-41D2-AF76-E3393A23BB17}" destId="{4A1F2038-FA57-4AC2-8252-3ACCDA100695}" srcOrd="0" destOrd="0" presId="urn:microsoft.com/office/officeart/2005/8/layout/hierarchy3"/>
    <dgm:cxn modelId="{084421BF-DD3B-4890-9D87-C4E1D7C29747}" srcId="{C1FBEED3-01B1-46F3-B957-C11B257F1AE3}" destId="{F9BDD195-9873-4859-9E5A-366D4086EBC9}" srcOrd="1" destOrd="0" parTransId="{A89CC6C9-14BA-401B-8443-BE2B227722C5}" sibTransId="{99B011BA-4964-47D2-86CE-3546E15448AC}"/>
    <dgm:cxn modelId="{14FE2990-FBFB-4DD4-85C4-3C412A17E776}" srcId="{F9BDD195-9873-4859-9E5A-366D4086EBC9}" destId="{D25524BB-BA01-4625-A17E-1375E25926A9}" srcOrd="2" destOrd="0" parTransId="{7642F327-1072-4DD7-8085-E4BEF0F7CEF6}" sibTransId="{F0379A5C-83CD-400E-BCC1-D6666301BB20}"/>
    <dgm:cxn modelId="{E7306793-30D2-405B-AFAB-6424D25B55E0}" type="presOf" srcId="{C1FBEED3-01B1-46F3-B957-C11B257F1AE3}" destId="{9B7985EC-B0EF-4343-B642-77C28343B400}" srcOrd="0" destOrd="0" presId="urn:microsoft.com/office/officeart/2005/8/layout/hierarchy3"/>
    <dgm:cxn modelId="{CB1F206E-AD83-4FED-9A2A-E19FD1E83D1B}" type="presOf" srcId="{B784CD62-3076-425C-B3D6-396E8EFD4C85}" destId="{84099D88-DA45-493B-BC00-2EF75A9E221B}" srcOrd="0" destOrd="0" presId="urn:microsoft.com/office/officeart/2005/8/layout/hierarchy3"/>
    <dgm:cxn modelId="{EA0149BF-E12D-4B9F-98FA-683D9BEDA336}" type="presOf" srcId="{DC38496F-F34A-4653-960F-5BF8B21424EF}" destId="{AC4AE9B6-DFD3-48C1-9A53-5B6F93D311A8}" srcOrd="0" destOrd="0" presId="urn:microsoft.com/office/officeart/2005/8/layout/hierarchy3"/>
    <dgm:cxn modelId="{52EA1105-0CCB-42CF-997E-6107221893D8}" type="presOf" srcId="{D2883BF8-8F9D-4EA2-8AF4-AD8BBBA155D8}" destId="{A9500BED-E339-42BC-86E0-49507C8F2259}" srcOrd="0" destOrd="0" presId="urn:microsoft.com/office/officeart/2005/8/layout/hierarchy3"/>
    <dgm:cxn modelId="{3BBCF73E-7E5F-4F97-A8E5-EF645B5A97D3}" srcId="{0EF02B3D-83A1-4FFD-9A2F-B47840B73872}" destId="{ADD12BED-F60A-4423-9A67-D1C09AA09E3B}" srcOrd="3" destOrd="0" parTransId="{F2B45D32-39B9-4690-B88E-99730CFCA1C4}" sibTransId="{8B5ACE47-F3AF-4EF9-8217-E9256EF969C5}"/>
    <dgm:cxn modelId="{C8C7D96F-0354-4636-8A02-506F7566CC5F}" type="presOf" srcId="{A3E631B7-9209-4F79-8B7D-78DADD695CB6}" destId="{E0CA4CE8-DF13-4590-987B-E1F14878D0D0}" srcOrd="0" destOrd="0" presId="urn:microsoft.com/office/officeart/2005/8/layout/hierarchy3"/>
    <dgm:cxn modelId="{99DC1F7E-C1AC-40E0-92D6-0FA85CBCEC18}" type="presOf" srcId="{145DC95C-343A-4833-828F-640ECE557A3C}" destId="{514CCD24-1E2C-453D-BF22-88DF87AF73A9}" srcOrd="0" destOrd="0" presId="urn:microsoft.com/office/officeart/2005/8/layout/hierarchy3"/>
    <dgm:cxn modelId="{3E4FD40A-74AF-4305-A963-3D532BB1BDB2}" type="presOf" srcId="{1E5F0F43-65C0-4966-8B94-68557E8A8FD2}" destId="{3468509C-395C-4CAA-8031-56300B0F5235}" srcOrd="0" destOrd="0" presId="urn:microsoft.com/office/officeart/2005/8/layout/hierarchy3"/>
    <dgm:cxn modelId="{208A013F-67CC-45D9-9D7C-BDFF1EF917EC}" type="presOf" srcId="{ADD12BED-F60A-4423-9A67-D1C09AA09E3B}" destId="{41871421-70EC-4E35-ACE6-5F0BE47759C5}" srcOrd="0" destOrd="0" presId="urn:microsoft.com/office/officeart/2005/8/layout/hierarchy3"/>
    <dgm:cxn modelId="{E6512D42-E6E4-4A49-AA36-F146703C69EF}" srcId="{C1FBEED3-01B1-46F3-B957-C11B257F1AE3}" destId="{8746147D-8DC9-41D2-AF76-E3393A23BB17}" srcOrd="2" destOrd="0" parTransId="{9A0210E9-5A8C-4027-B606-6E0EAF96BFF0}" sibTransId="{0699C35D-9DBD-493E-9B35-13B32D239E2E}"/>
    <dgm:cxn modelId="{194D2862-156A-4EBA-ABD7-59B286E46E59}" type="presOf" srcId="{CF0A68FE-74EF-4AA2-9ED9-7B01612DF642}" destId="{2F95051D-7999-4B57-B62B-0A8E93ED2CF3}" srcOrd="1" destOrd="0" presId="urn:microsoft.com/office/officeart/2005/8/layout/hierarchy3"/>
    <dgm:cxn modelId="{E117859B-F120-442C-BC7D-AFBF60FF4C09}" type="presOf" srcId="{D25524BB-BA01-4625-A17E-1375E25926A9}" destId="{AF282591-F9D6-4D71-87B7-F071E96D36ED}" srcOrd="0" destOrd="0" presId="urn:microsoft.com/office/officeart/2005/8/layout/hierarchy3"/>
    <dgm:cxn modelId="{4D0B9E23-6C65-4334-B43C-6F30BA97B691}" type="presOf" srcId="{F2B45D32-39B9-4690-B88E-99730CFCA1C4}" destId="{9905323C-1E59-4D05-AA1E-B7EE7C23098B}" srcOrd="0" destOrd="0" presId="urn:microsoft.com/office/officeart/2005/8/layout/hierarchy3"/>
    <dgm:cxn modelId="{53A56883-748A-49D5-9EF6-14C90CE708C1}" type="presOf" srcId="{7642F327-1072-4DD7-8085-E4BEF0F7CEF6}" destId="{A094DAF6-161A-48A6-B978-DABD7441AB19}" srcOrd="0" destOrd="0" presId="urn:microsoft.com/office/officeart/2005/8/layout/hierarchy3"/>
    <dgm:cxn modelId="{13F4644E-10ED-4805-B888-2D390D2C9B73}" type="presOf" srcId="{79272D6E-260D-4233-BB8C-2615A79B2370}" destId="{2BC3C2DE-9EAD-4869-A336-94FDD377E048}" srcOrd="0" destOrd="0" presId="urn:microsoft.com/office/officeart/2005/8/layout/hierarchy3"/>
    <dgm:cxn modelId="{9488A6F3-A97B-4440-8CCF-1D1C8498DB65}" srcId="{CF0A68FE-74EF-4AA2-9ED9-7B01612DF642}" destId="{F9B2E840-DE88-441B-8F8F-A2DE66ED0633}" srcOrd="1" destOrd="0" parTransId="{9521B682-538C-4B7C-8D37-8F635E3CEDCF}" sibTransId="{C0B8BDFE-6B71-412F-87BA-AE560DB88854}"/>
    <dgm:cxn modelId="{6E02D67F-096F-4FBD-9ADD-F1F4D7C35A0A}" type="presOf" srcId="{9A2BBAB2-C159-4901-841E-042B80A8B630}" destId="{B3A7663D-4801-4EEA-BC36-9D7BE3DC1324}" srcOrd="0" destOrd="0" presId="urn:microsoft.com/office/officeart/2005/8/layout/hierarchy3"/>
    <dgm:cxn modelId="{E09D209A-F532-444B-B9A7-777C8DFE563A}" type="presOf" srcId="{C56710DF-7A83-4F98-B90E-671C2AA7E0FD}" destId="{EF2D5B3F-8873-4D01-A72A-E045084A3BEB}" srcOrd="0" destOrd="0" presId="urn:microsoft.com/office/officeart/2005/8/layout/hierarchy3"/>
    <dgm:cxn modelId="{3CE52423-5F6A-434C-B3E9-4EAA4AF11234}" type="presOf" srcId="{FDF90672-9DCC-49A1-88EC-47C6EE561620}" destId="{21A0268F-B372-4F1C-BDD7-D8778538F1BD}" srcOrd="0" destOrd="0" presId="urn:microsoft.com/office/officeart/2005/8/layout/hierarchy3"/>
    <dgm:cxn modelId="{D3AF7A4D-D5F4-47D8-89C8-5158F758A0B5}" srcId="{0EF02B3D-83A1-4FFD-9A2F-B47840B73872}" destId="{25E13BD1-56C0-42FE-BA2F-BEAAB3C503DF}" srcOrd="0" destOrd="0" parTransId="{1E5F0F43-65C0-4966-8B94-68557E8A8FD2}" sibTransId="{7A023CD7-1392-47DC-8282-82672F3B8E94}"/>
    <dgm:cxn modelId="{026AB6B2-867A-4426-8B16-7BC073E86889}" type="presOf" srcId="{520B5CD5-F714-4B4A-B448-3DC58E282121}" destId="{6BBB35D1-D584-4E83-ACBD-497A735838F3}" srcOrd="0" destOrd="0" presId="urn:microsoft.com/office/officeart/2005/8/layout/hierarchy3"/>
    <dgm:cxn modelId="{A44D347E-C33C-45C1-B6D0-957F6A080E33}" type="presOf" srcId="{9521B682-538C-4B7C-8D37-8F635E3CEDCF}" destId="{2090B7D8-B3E0-4B2F-AFC1-6E82D4E32AFB}" srcOrd="0" destOrd="0" presId="urn:microsoft.com/office/officeart/2005/8/layout/hierarchy3"/>
    <dgm:cxn modelId="{B26BC062-8BF4-4370-8611-8B5A4506ABD2}" type="presOf" srcId="{CF0A68FE-74EF-4AA2-9ED9-7B01612DF642}" destId="{7A36CD1C-4CDD-455D-9997-CCE8CF7F334A}" srcOrd="0" destOrd="0" presId="urn:microsoft.com/office/officeart/2005/8/layout/hierarchy3"/>
    <dgm:cxn modelId="{5E86D010-5A1C-49FC-8919-E63C3A0F4C8E}" srcId="{F9BDD195-9873-4859-9E5A-366D4086EBC9}" destId="{D2883BF8-8F9D-4EA2-8AF4-AD8BBBA155D8}" srcOrd="1" destOrd="0" parTransId="{0076D393-258B-411F-9E1B-45EEB92551EE}" sibTransId="{091B76C2-98AD-4FDC-9433-2E707496C7E7}"/>
    <dgm:cxn modelId="{9E90FAA3-508C-4730-99DB-54D644437BB6}" srcId="{0EF02B3D-83A1-4FFD-9A2F-B47840B73872}" destId="{0652A6FA-76B7-41E1-B1A3-B5123CD36F17}" srcOrd="1" destOrd="0" parTransId="{08100822-BC5B-4759-A7E9-192366A480EC}" sibTransId="{6EFF2A5B-9495-4B97-B181-9FFD9E1CE878}"/>
    <dgm:cxn modelId="{0A12BBFE-F5D5-4986-A6D1-F2441BECC337}" type="presOf" srcId="{0EF02B3D-83A1-4FFD-9A2F-B47840B73872}" destId="{1E16444F-7FBB-4384-AD05-F603ADBD0287}" srcOrd="0" destOrd="0" presId="urn:microsoft.com/office/officeart/2005/8/layout/hierarchy3"/>
    <dgm:cxn modelId="{EC157DF8-E89D-4A45-9278-06DB2F1450CA}" type="presOf" srcId="{F9B2E840-DE88-441B-8F8F-A2DE66ED0633}" destId="{52FB85B1-0560-4612-929C-E666117661C5}" srcOrd="0" destOrd="0" presId="urn:microsoft.com/office/officeart/2005/8/layout/hierarchy3"/>
    <dgm:cxn modelId="{8AB68A93-B2B5-4DCA-A0F0-18BB97028613}" type="presOf" srcId="{1DCA5167-A940-4F7B-9438-7F81018BACA0}" destId="{80AEAD2E-F332-49ED-B347-BB757F2051EC}" srcOrd="0" destOrd="0" presId="urn:microsoft.com/office/officeart/2005/8/layout/hierarchy3"/>
    <dgm:cxn modelId="{C75D838A-86D1-4B65-8930-1949EE676174}" srcId="{0EF02B3D-83A1-4FFD-9A2F-B47840B73872}" destId="{520B5CD5-F714-4B4A-B448-3DC58E282121}" srcOrd="2" destOrd="0" parTransId="{FDF90672-9DCC-49A1-88EC-47C6EE561620}" sibTransId="{D233F710-192A-459E-BA1E-4B4627B47C7D}"/>
    <dgm:cxn modelId="{A144311C-97BA-4D66-AB77-A3C1B7F4B5C4}" type="presOf" srcId="{F9BDD195-9873-4859-9E5A-366D4086EBC9}" destId="{153432B2-7305-4E7F-98B3-29ECE0996D08}" srcOrd="1" destOrd="0" presId="urn:microsoft.com/office/officeart/2005/8/layout/hierarchy3"/>
    <dgm:cxn modelId="{62AA0487-2D89-4D4B-A50C-5AB9CC779B4D}" type="presOf" srcId="{DCC9AE9E-E07F-4170-A9FA-84A7499D7727}" destId="{553F0568-A673-45CB-95BE-4F77D8A4A58F}" srcOrd="0" destOrd="0" presId="urn:microsoft.com/office/officeart/2005/8/layout/hierarchy3"/>
    <dgm:cxn modelId="{8E495BEA-8F07-406D-9AF3-1636B8E20C82}" type="presOf" srcId="{19776E37-EBC8-420B-8C42-4ADFECCD7262}" destId="{425CC0D6-A987-4F3E-A514-4EB36E1C05A6}" srcOrd="0" destOrd="0" presId="urn:microsoft.com/office/officeart/2005/8/layout/hierarchy3"/>
    <dgm:cxn modelId="{D5888B3A-E099-4579-B4A9-F84FCE1EF33D}" type="presOf" srcId="{0076D393-258B-411F-9E1B-45EEB92551EE}" destId="{ED8356AA-4FF3-4C94-86D4-33D7492D9366}" srcOrd="0" destOrd="0" presId="urn:microsoft.com/office/officeart/2005/8/layout/hierarchy3"/>
    <dgm:cxn modelId="{8879D102-A6D4-4E74-A1A5-52BEE2B885FA}" srcId="{C1FBEED3-01B1-46F3-B957-C11B257F1AE3}" destId="{CF0A68FE-74EF-4AA2-9ED9-7B01612DF642}" srcOrd="0" destOrd="0" parTransId="{E64A07B7-C90A-445E-93B5-B45E2BB98F9F}" sibTransId="{5AEAF890-6343-43D3-833D-446C267EA1E1}"/>
    <dgm:cxn modelId="{2FCEB088-16D6-47CC-8CDA-D10E0FE24B49}" srcId="{8746147D-8DC9-41D2-AF76-E3393A23BB17}" destId="{79272D6E-260D-4233-BB8C-2615A79B2370}" srcOrd="2" destOrd="0" parTransId="{DCC9AE9E-E07F-4170-A9FA-84A7499D7727}" sibTransId="{071D1648-D77A-43D6-BA13-C7FC8C12C3C7}"/>
    <dgm:cxn modelId="{A15A636A-D352-4DCF-BA62-3F9090E6744D}" srcId="{C1FBEED3-01B1-46F3-B957-C11B257F1AE3}" destId="{0EF02B3D-83A1-4FFD-9A2F-B47840B73872}" srcOrd="3" destOrd="0" parTransId="{4850EE69-15BE-4D5B-80D3-CC9D2E4DD202}" sibTransId="{811107CF-E72B-46D2-A73C-4BF41D68B7EB}"/>
    <dgm:cxn modelId="{2B017049-8ADD-45A9-9B7E-A0C9C69BEB8B}" type="presOf" srcId="{8746147D-8DC9-41D2-AF76-E3393A23BB17}" destId="{4A494DA0-FA72-44E1-902B-A8B74A7AFC5A}" srcOrd="1" destOrd="0" presId="urn:microsoft.com/office/officeart/2005/8/layout/hierarchy3"/>
    <dgm:cxn modelId="{1CC3F0FF-A4AB-44FE-BCC6-DC850EAA490B}" type="presOf" srcId="{0EF02B3D-83A1-4FFD-9A2F-B47840B73872}" destId="{C6B16B97-322B-4EFB-9025-80A8D081D67C}" srcOrd="1" destOrd="0" presId="urn:microsoft.com/office/officeart/2005/8/layout/hierarchy3"/>
    <dgm:cxn modelId="{594C592D-E613-40FC-A690-DF62E0FBC905}" srcId="{8746147D-8DC9-41D2-AF76-E3393A23BB17}" destId="{9A2BBAB2-C159-4901-841E-042B80A8B630}" srcOrd="1" destOrd="0" parTransId="{DC38496F-F34A-4653-960F-5BF8B21424EF}" sibTransId="{68EB307C-59AE-429F-9E36-04ACDA9A891E}"/>
    <dgm:cxn modelId="{0BD60C49-696D-4DD2-8E01-FE8A12F4326A}" type="presOf" srcId="{F9BDD195-9873-4859-9E5A-366D4086EBC9}" destId="{7B33427B-A5D7-45FA-9C9F-3604B9916F97}" srcOrd="0" destOrd="0" presId="urn:microsoft.com/office/officeart/2005/8/layout/hierarchy3"/>
    <dgm:cxn modelId="{8D50B8C6-C59D-4809-B6C7-D2A414E53476}" srcId="{CF0A68FE-74EF-4AA2-9ED9-7B01612DF642}" destId="{C56710DF-7A83-4F98-B90E-671C2AA7E0FD}" srcOrd="2" destOrd="0" parTransId="{ADB013F8-898F-4BBA-9FDB-6B9AEDAC8C5C}" sibTransId="{2006F637-53B8-4FE9-8CE1-A388B5E2D5B6}"/>
    <dgm:cxn modelId="{77E5B836-E302-4B03-8D9D-321D20563789}" srcId="{CF0A68FE-74EF-4AA2-9ED9-7B01612DF642}" destId="{19776E37-EBC8-420B-8C42-4ADFECCD7262}" srcOrd="0" destOrd="0" parTransId="{A3E631B7-9209-4F79-8B7D-78DADD695CB6}" sibTransId="{1DFC8BA7-96D2-4B91-8AF1-67D585923E62}"/>
    <dgm:cxn modelId="{E72B4213-5846-4969-ACC2-0FC201FA4566}" type="presOf" srcId="{0652A6FA-76B7-41E1-B1A3-B5123CD36F17}" destId="{39EB9B09-F3A1-4BBA-BC84-08C74AB13F65}" srcOrd="0" destOrd="0" presId="urn:microsoft.com/office/officeart/2005/8/layout/hierarchy3"/>
    <dgm:cxn modelId="{59341204-84A7-49A8-B95D-4B6AAB2309D6}" srcId="{F9BDD195-9873-4859-9E5A-366D4086EBC9}" destId="{06866570-9937-4602-80F8-51DB56C03E75}" srcOrd="0" destOrd="0" parTransId="{B784CD62-3076-425C-B3D6-396E8EFD4C85}" sibTransId="{9AEED5E1-2059-4EC2-ABAD-2BA2880E5ED4}"/>
    <dgm:cxn modelId="{A471BC58-013B-4DA0-AFF6-D8784BCDD3E2}" srcId="{8746147D-8DC9-41D2-AF76-E3393A23BB17}" destId="{145DC95C-343A-4833-828F-640ECE557A3C}" srcOrd="0" destOrd="0" parTransId="{1DCA5167-A940-4F7B-9438-7F81018BACA0}" sibTransId="{08A4C67C-F3AE-41D6-BE38-3A89DDEFAEBD}"/>
    <dgm:cxn modelId="{13B642C2-4BD4-411D-811C-5B45C02BD5FB}" type="presOf" srcId="{ADB013F8-898F-4BBA-9FDB-6B9AEDAC8C5C}" destId="{231CFEE3-EF12-4482-A39F-04BAC3EAFDD4}" srcOrd="0" destOrd="0" presId="urn:microsoft.com/office/officeart/2005/8/layout/hierarchy3"/>
    <dgm:cxn modelId="{E8F6AF90-5DA8-474E-A160-51A8198C96DB}" type="presOf" srcId="{06866570-9937-4602-80F8-51DB56C03E75}" destId="{1D40BAC0-730F-468C-A268-4CE337B40F55}" srcOrd="0" destOrd="0" presId="urn:microsoft.com/office/officeart/2005/8/layout/hierarchy3"/>
    <dgm:cxn modelId="{0C70EFBF-9573-41BE-AD10-34E250B8FE5D}" type="presParOf" srcId="{9B7985EC-B0EF-4343-B642-77C28343B400}" destId="{E0EA4377-9324-445C-BE79-82DCA49297B7}" srcOrd="0" destOrd="0" presId="urn:microsoft.com/office/officeart/2005/8/layout/hierarchy3"/>
    <dgm:cxn modelId="{ACE835E5-2F53-425B-B255-864C8DF741BA}" type="presParOf" srcId="{E0EA4377-9324-445C-BE79-82DCA49297B7}" destId="{B65F52D6-B171-48CC-A37C-D69CDDA68680}" srcOrd="0" destOrd="0" presId="urn:microsoft.com/office/officeart/2005/8/layout/hierarchy3"/>
    <dgm:cxn modelId="{A33953A2-6C8B-4F59-BD7E-EAE9E3213E72}" type="presParOf" srcId="{B65F52D6-B171-48CC-A37C-D69CDDA68680}" destId="{7A36CD1C-4CDD-455D-9997-CCE8CF7F334A}" srcOrd="0" destOrd="0" presId="urn:microsoft.com/office/officeart/2005/8/layout/hierarchy3"/>
    <dgm:cxn modelId="{03ACE68B-31D4-4F4E-B6C5-3B506DCD2F2A}" type="presParOf" srcId="{B65F52D6-B171-48CC-A37C-D69CDDA68680}" destId="{2F95051D-7999-4B57-B62B-0A8E93ED2CF3}" srcOrd="1" destOrd="0" presId="urn:microsoft.com/office/officeart/2005/8/layout/hierarchy3"/>
    <dgm:cxn modelId="{A6F499B2-02F0-4B07-9BEC-30779B4B07E3}" type="presParOf" srcId="{E0EA4377-9324-445C-BE79-82DCA49297B7}" destId="{90052C28-923F-4976-8A30-1CBD34BA8232}" srcOrd="1" destOrd="0" presId="urn:microsoft.com/office/officeart/2005/8/layout/hierarchy3"/>
    <dgm:cxn modelId="{F5BD03E9-7EE5-4535-B182-5D33D74254B8}" type="presParOf" srcId="{90052C28-923F-4976-8A30-1CBD34BA8232}" destId="{E0CA4CE8-DF13-4590-987B-E1F14878D0D0}" srcOrd="0" destOrd="0" presId="urn:microsoft.com/office/officeart/2005/8/layout/hierarchy3"/>
    <dgm:cxn modelId="{79E69017-023E-472A-BF2A-7C69B5D19DD4}" type="presParOf" srcId="{90052C28-923F-4976-8A30-1CBD34BA8232}" destId="{425CC0D6-A987-4F3E-A514-4EB36E1C05A6}" srcOrd="1" destOrd="0" presId="urn:microsoft.com/office/officeart/2005/8/layout/hierarchy3"/>
    <dgm:cxn modelId="{0C9B011D-A094-424C-8B00-2F5713B7A02B}" type="presParOf" srcId="{90052C28-923F-4976-8A30-1CBD34BA8232}" destId="{2090B7D8-B3E0-4B2F-AFC1-6E82D4E32AFB}" srcOrd="2" destOrd="0" presId="urn:microsoft.com/office/officeart/2005/8/layout/hierarchy3"/>
    <dgm:cxn modelId="{2B495A6A-A81F-41D3-B110-46F9F4244C87}" type="presParOf" srcId="{90052C28-923F-4976-8A30-1CBD34BA8232}" destId="{52FB85B1-0560-4612-929C-E666117661C5}" srcOrd="3" destOrd="0" presId="urn:microsoft.com/office/officeart/2005/8/layout/hierarchy3"/>
    <dgm:cxn modelId="{53F3B192-3BEF-41BF-BD84-E68BDA4AF49F}" type="presParOf" srcId="{90052C28-923F-4976-8A30-1CBD34BA8232}" destId="{231CFEE3-EF12-4482-A39F-04BAC3EAFDD4}" srcOrd="4" destOrd="0" presId="urn:microsoft.com/office/officeart/2005/8/layout/hierarchy3"/>
    <dgm:cxn modelId="{D7080EDF-3A19-4E87-9FA8-2A64B27980DB}" type="presParOf" srcId="{90052C28-923F-4976-8A30-1CBD34BA8232}" destId="{EF2D5B3F-8873-4D01-A72A-E045084A3BEB}" srcOrd="5" destOrd="0" presId="urn:microsoft.com/office/officeart/2005/8/layout/hierarchy3"/>
    <dgm:cxn modelId="{1D7794DC-C1E2-48EF-8FD1-032D7865F718}" type="presParOf" srcId="{9B7985EC-B0EF-4343-B642-77C28343B400}" destId="{98A096D9-1EFA-44CE-ABCA-781100FE0571}" srcOrd="1" destOrd="0" presId="urn:microsoft.com/office/officeart/2005/8/layout/hierarchy3"/>
    <dgm:cxn modelId="{66BB1FFB-C76E-4D81-8C14-9B8454F875A6}" type="presParOf" srcId="{98A096D9-1EFA-44CE-ABCA-781100FE0571}" destId="{C19C8F78-A25C-447B-AB15-580F4CDF29EF}" srcOrd="0" destOrd="0" presId="urn:microsoft.com/office/officeart/2005/8/layout/hierarchy3"/>
    <dgm:cxn modelId="{29C58EA3-C05A-4624-A0C4-BB4B18983B79}" type="presParOf" srcId="{C19C8F78-A25C-447B-AB15-580F4CDF29EF}" destId="{7B33427B-A5D7-45FA-9C9F-3604B9916F97}" srcOrd="0" destOrd="0" presId="urn:microsoft.com/office/officeart/2005/8/layout/hierarchy3"/>
    <dgm:cxn modelId="{89D4B2D0-FB60-42D5-BBF3-FEB739936405}" type="presParOf" srcId="{C19C8F78-A25C-447B-AB15-580F4CDF29EF}" destId="{153432B2-7305-4E7F-98B3-29ECE0996D08}" srcOrd="1" destOrd="0" presId="urn:microsoft.com/office/officeart/2005/8/layout/hierarchy3"/>
    <dgm:cxn modelId="{3E2FCE03-92DD-45D5-A3CD-5350058DC223}" type="presParOf" srcId="{98A096D9-1EFA-44CE-ABCA-781100FE0571}" destId="{8D01CE45-FB71-4B2F-8080-03B1F5F4DEB5}" srcOrd="1" destOrd="0" presId="urn:microsoft.com/office/officeart/2005/8/layout/hierarchy3"/>
    <dgm:cxn modelId="{7CBD6718-1FE7-41CE-A369-37EF080E2E84}" type="presParOf" srcId="{8D01CE45-FB71-4B2F-8080-03B1F5F4DEB5}" destId="{84099D88-DA45-493B-BC00-2EF75A9E221B}" srcOrd="0" destOrd="0" presId="urn:microsoft.com/office/officeart/2005/8/layout/hierarchy3"/>
    <dgm:cxn modelId="{24F787EE-E571-49DE-91BC-E8EDFF219B79}" type="presParOf" srcId="{8D01CE45-FB71-4B2F-8080-03B1F5F4DEB5}" destId="{1D40BAC0-730F-468C-A268-4CE337B40F55}" srcOrd="1" destOrd="0" presId="urn:microsoft.com/office/officeart/2005/8/layout/hierarchy3"/>
    <dgm:cxn modelId="{58D863D7-A5B6-4C24-8D96-5085529C7FF8}" type="presParOf" srcId="{8D01CE45-FB71-4B2F-8080-03B1F5F4DEB5}" destId="{ED8356AA-4FF3-4C94-86D4-33D7492D9366}" srcOrd="2" destOrd="0" presId="urn:microsoft.com/office/officeart/2005/8/layout/hierarchy3"/>
    <dgm:cxn modelId="{C94180D2-80A7-4088-A770-D9ECDBC7478C}" type="presParOf" srcId="{8D01CE45-FB71-4B2F-8080-03B1F5F4DEB5}" destId="{A9500BED-E339-42BC-86E0-49507C8F2259}" srcOrd="3" destOrd="0" presId="urn:microsoft.com/office/officeart/2005/8/layout/hierarchy3"/>
    <dgm:cxn modelId="{68509F3C-701A-4106-8E9F-B735763B4098}" type="presParOf" srcId="{8D01CE45-FB71-4B2F-8080-03B1F5F4DEB5}" destId="{A094DAF6-161A-48A6-B978-DABD7441AB19}" srcOrd="4" destOrd="0" presId="urn:microsoft.com/office/officeart/2005/8/layout/hierarchy3"/>
    <dgm:cxn modelId="{4ECC78DA-CC4A-481B-B938-8C294CB3DA8A}" type="presParOf" srcId="{8D01CE45-FB71-4B2F-8080-03B1F5F4DEB5}" destId="{AF282591-F9D6-4D71-87B7-F071E96D36ED}" srcOrd="5" destOrd="0" presId="urn:microsoft.com/office/officeart/2005/8/layout/hierarchy3"/>
    <dgm:cxn modelId="{9DC4A795-D9A9-4EE3-B619-C85CA1EB4E29}" type="presParOf" srcId="{9B7985EC-B0EF-4343-B642-77C28343B400}" destId="{B5D23DC3-E02C-43C3-AF6A-33F3523254CB}" srcOrd="2" destOrd="0" presId="urn:microsoft.com/office/officeart/2005/8/layout/hierarchy3"/>
    <dgm:cxn modelId="{C4AEAED7-3407-496E-958C-A096F831148D}" type="presParOf" srcId="{B5D23DC3-E02C-43C3-AF6A-33F3523254CB}" destId="{4C2EB443-896C-4637-8823-9D5A5242112F}" srcOrd="0" destOrd="0" presId="urn:microsoft.com/office/officeart/2005/8/layout/hierarchy3"/>
    <dgm:cxn modelId="{C9A1CEEF-8199-4415-9364-403D4398BCF1}" type="presParOf" srcId="{4C2EB443-896C-4637-8823-9D5A5242112F}" destId="{4A1F2038-FA57-4AC2-8252-3ACCDA100695}" srcOrd="0" destOrd="0" presId="urn:microsoft.com/office/officeart/2005/8/layout/hierarchy3"/>
    <dgm:cxn modelId="{CB0C7CB3-CB37-44ED-9C3B-1429E166DF2D}" type="presParOf" srcId="{4C2EB443-896C-4637-8823-9D5A5242112F}" destId="{4A494DA0-FA72-44E1-902B-A8B74A7AFC5A}" srcOrd="1" destOrd="0" presId="urn:microsoft.com/office/officeart/2005/8/layout/hierarchy3"/>
    <dgm:cxn modelId="{7D15D0E8-ED5B-485D-B526-EBC74BEFC5F9}" type="presParOf" srcId="{B5D23DC3-E02C-43C3-AF6A-33F3523254CB}" destId="{B1CED59B-0E8C-4780-AF03-6A8D8134D1DC}" srcOrd="1" destOrd="0" presId="urn:microsoft.com/office/officeart/2005/8/layout/hierarchy3"/>
    <dgm:cxn modelId="{76C40AD9-A901-458F-853C-8FA5CD305F3E}" type="presParOf" srcId="{B1CED59B-0E8C-4780-AF03-6A8D8134D1DC}" destId="{80AEAD2E-F332-49ED-B347-BB757F2051EC}" srcOrd="0" destOrd="0" presId="urn:microsoft.com/office/officeart/2005/8/layout/hierarchy3"/>
    <dgm:cxn modelId="{0B32C2A5-5B97-4939-81AE-890C417A79A4}" type="presParOf" srcId="{B1CED59B-0E8C-4780-AF03-6A8D8134D1DC}" destId="{514CCD24-1E2C-453D-BF22-88DF87AF73A9}" srcOrd="1" destOrd="0" presId="urn:microsoft.com/office/officeart/2005/8/layout/hierarchy3"/>
    <dgm:cxn modelId="{34BE6ECE-64FA-414E-B151-539CD11B606E}" type="presParOf" srcId="{B1CED59B-0E8C-4780-AF03-6A8D8134D1DC}" destId="{AC4AE9B6-DFD3-48C1-9A53-5B6F93D311A8}" srcOrd="2" destOrd="0" presId="urn:microsoft.com/office/officeart/2005/8/layout/hierarchy3"/>
    <dgm:cxn modelId="{F3E8BA79-D68C-4448-AB6E-0144CAE6AA06}" type="presParOf" srcId="{B1CED59B-0E8C-4780-AF03-6A8D8134D1DC}" destId="{B3A7663D-4801-4EEA-BC36-9D7BE3DC1324}" srcOrd="3" destOrd="0" presId="urn:microsoft.com/office/officeart/2005/8/layout/hierarchy3"/>
    <dgm:cxn modelId="{810E8610-6DC4-47BE-BDA3-0CF3252B4543}" type="presParOf" srcId="{B1CED59B-0E8C-4780-AF03-6A8D8134D1DC}" destId="{553F0568-A673-45CB-95BE-4F77D8A4A58F}" srcOrd="4" destOrd="0" presId="urn:microsoft.com/office/officeart/2005/8/layout/hierarchy3"/>
    <dgm:cxn modelId="{E2CC799A-31B0-4840-B216-26456BBE377D}" type="presParOf" srcId="{B1CED59B-0E8C-4780-AF03-6A8D8134D1DC}" destId="{2BC3C2DE-9EAD-4869-A336-94FDD377E048}" srcOrd="5" destOrd="0" presId="urn:microsoft.com/office/officeart/2005/8/layout/hierarchy3"/>
    <dgm:cxn modelId="{3398D4DC-31B1-4A5C-BA08-0E58530AF823}" type="presParOf" srcId="{9B7985EC-B0EF-4343-B642-77C28343B400}" destId="{F263971E-A094-4BE1-B6FF-B01FD356816F}" srcOrd="3" destOrd="0" presId="urn:microsoft.com/office/officeart/2005/8/layout/hierarchy3"/>
    <dgm:cxn modelId="{7410F043-7B68-4675-A731-5083BE0A6DB8}" type="presParOf" srcId="{F263971E-A094-4BE1-B6FF-B01FD356816F}" destId="{99861FEE-40ED-4928-B757-A2A60C7294F7}" srcOrd="0" destOrd="0" presId="urn:microsoft.com/office/officeart/2005/8/layout/hierarchy3"/>
    <dgm:cxn modelId="{AA2B0627-F930-4F40-892D-3B408B820683}" type="presParOf" srcId="{99861FEE-40ED-4928-B757-A2A60C7294F7}" destId="{1E16444F-7FBB-4384-AD05-F603ADBD0287}" srcOrd="0" destOrd="0" presId="urn:microsoft.com/office/officeart/2005/8/layout/hierarchy3"/>
    <dgm:cxn modelId="{1B0D5A6B-ABAA-4146-8EA9-DAD12555CC84}" type="presParOf" srcId="{99861FEE-40ED-4928-B757-A2A60C7294F7}" destId="{C6B16B97-322B-4EFB-9025-80A8D081D67C}" srcOrd="1" destOrd="0" presId="urn:microsoft.com/office/officeart/2005/8/layout/hierarchy3"/>
    <dgm:cxn modelId="{40C3D2A8-7316-4F52-868C-97F638198341}" type="presParOf" srcId="{F263971E-A094-4BE1-B6FF-B01FD356816F}" destId="{694019B7-50B2-4D69-AC56-1900471865C6}" srcOrd="1" destOrd="0" presId="urn:microsoft.com/office/officeart/2005/8/layout/hierarchy3"/>
    <dgm:cxn modelId="{07BF909A-853F-4519-BDDC-1B9979A7D6DE}" type="presParOf" srcId="{694019B7-50B2-4D69-AC56-1900471865C6}" destId="{3468509C-395C-4CAA-8031-56300B0F5235}" srcOrd="0" destOrd="0" presId="urn:microsoft.com/office/officeart/2005/8/layout/hierarchy3"/>
    <dgm:cxn modelId="{1CDD931D-7C72-49EC-AFCD-25C59C6FCBCF}" type="presParOf" srcId="{694019B7-50B2-4D69-AC56-1900471865C6}" destId="{32CF6715-6666-40F0-95F7-7B160E03C7CC}" srcOrd="1" destOrd="0" presId="urn:microsoft.com/office/officeart/2005/8/layout/hierarchy3"/>
    <dgm:cxn modelId="{2398BF00-9236-4072-8437-2E1811FAE733}" type="presParOf" srcId="{694019B7-50B2-4D69-AC56-1900471865C6}" destId="{46304A66-8EF0-46E0-A0F4-2DF3234AD846}" srcOrd="2" destOrd="0" presId="urn:microsoft.com/office/officeart/2005/8/layout/hierarchy3"/>
    <dgm:cxn modelId="{2E26C58D-604E-45DA-8D17-9BDC7AA28E01}" type="presParOf" srcId="{694019B7-50B2-4D69-AC56-1900471865C6}" destId="{39EB9B09-F3A1-4BBA-BC84-08C74AB13F65}" srcOrd="3" destOrd="0" presId="urn:microsoft.com/office/officeart/2005/8/layout/hierarchy3"/>
    <dgm:cxn modelId="{381E55AB-E333-4366-B5FB-AE3B4E7A1E8A}" type="presParOf" srcId="{694019B7-50B2-4D69-AC56-1900471865C6}" destId="{21A0268F-B372-4F1C-BDD7-D8778538F1BD}" srcOrd="4" destOrd="0" presId="urn:microsoft.com/office/officeart/2005/8/layout/hierarchy3"/>
    <dgm:cxn modelId="{E2A8D737-37A9-4707-9EB2-240B97CB842E}" type="presParOf" srcId="{694019B7-50B2-4D69-AC56-1900471865C6}" destId="{6BBB35D1-D584-4E83-ACBD-497A735838F3}" srcOrd="5" destOrd="0" presId="urn:microsoft.com/office/officeart/2005/8/layout/hierarchy3"/>
    <dgm:cxn modelId="{3F18C66A-90D8-494C-A6F4-5961AE0DAEE2}" type="presParOf" srcId="{694019B7-50B2-4D69-AC56-1900471865C6}" destId="{9905323C-1E59-4D05-AA1E-B7EE7C23098B}" srcOrd="6" destOrd="0" presId="urn:microsoft.com/office/officeart/2005/8/layout/hierarchy3"/>
    <dgm:cxn modelId="{C17C5479-D730-4445-A1C0-9A362BEB77A4}" type="presParOf" srcId="{694019B7-50B2-4D69-AC56-1900471865C6}" destId="{41871421-70EC-4E35-ACE6-5F0BE47759C5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1FBEED3-01B1-46F3-B957-C11B257F1AE3}" type="doc">
      <dgm:prSet loTypeId="urn:microsoft.com/office/officeart/2005/8/layout/hierarchy3" loCatId="hierarchy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CF0A68FE-74EF-4AA2-9ED9-7B01612DF642}">
      <dgm:prSet phldrT="[Texto]" custT="1"/>
      <dgm:spPr>
        <a:solidFill>
          <a:srgbClr val="009999"/>
        </a:solidFill>
      </dgm:spPr>
      <dgm:t>
        <a:bodyPr/>
        <a:lstStyle/>
        <a:p>
          <a:r>
            <a:rPr lang="es-CL" sz="2000" dirty="0"/>
            <a:t>SALUD OCUPACIONAL</a:t>
          </a:r>
        </a:p>
      </dgm:t>
    </dgm:pt>
    <dgm:pt modelId="{E64A07B7-C90A-445E-93B5-B45E2BB98F9F}" type="parTrans" cxnId="{8879D102-A6D4-4E74-A1A5-52BEE2B885FA}">
      <dgm:prSet/>
      <dgm:spPr/>
      <dgm:t>
        <a:bodyPr/>
        <a:lstStyle/>
        <a:p>
          <a:endParaRPr lang="es-CL"/>
        </a:p>
      </dgm:t>
    </dgm:pt>
    <dgm:pt modelId="{5AEAF890-6343-43D3-833D-446C267EA1E1}" type="sibTrans" cxnId="{8879D102-A6D4-4E74-A1A5-52BEE2B885FA}">
      <dgm:prSet/>
      <dgm:spPr/>
      <dgm:t>
        <a:bodyPr/>
        <a:lstStyle/>
        <a:p>
          <a:endParaRPr lang="es-CL"/>
        </a:p>
      </dgm:t>
    </dgm:pt>
    <dgm:pt modelId="{19776E37-EBC8-420B-8C42-4ADFECCD7262}">
      <dgm:prSet phldrT="[Texto]" custT="1"/>
      <dgm:spPr>
        <a:solidFill>
          <a:srgbClr val="D1F7EA">
            <a:alpha val="89804"/>
          </a:srgbClr>
        </a:solidFill>
        <a:ln>
          <a:solidFill>
            <a:srgbClr val="008080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>
            <a:lnSpc>
              <a:spcPct val="100000"/>
            </a:lnSpc>
          </a:pPr>
          <a:r>
            <a:rPr lang="es-CL" sz="1100" b="1" dirty="0">
              <a:solidFill>
                <a:srgbClr val="1B1B1B"/>
              </a:solidFill>
            </a:rPr>
            <a:t>Objetivo</a:t>
          </a:r>
          <a:r>
            <a:rPr lang="es-CL" sz="1100" b="0" dirty="0">
              <a:solidFill>
                <a:srgbClr val="1B1B1B"/>
              </a:solidFill>
            </a:rPr>
            <a:t>: Proteger la salud de los trabajadores.</a:t>
          </a:r>
        </a:p>
      </dgm:t>
    </dgm:pt>
    <dgm:pt modelId="{A3E631B7-9209-4F79-8B7D-78DADD695CB6}" type="parTrans" cxnId="{77E5B836-E302-4B03-8D9D-321D20563789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1DFC8BA7-96D2-4B91-8AF1-67D585923E62}" type="sibTrans" cxnId="{77E5B836-E302-4B03-8D9D-321D20563789}">
      <dgm:prSet/>
      <dgm:spPr/>
      <dgm:t>
        <a:bodyPr/>
        <a:lstStyle/>
        <a:p>
          <a:endParaRPr lang="es-CL"/>
        </a:p>
      </dgm:t>
    </dgm:pt>
    <dgm:pt modelId="{2734CC2E-851E-4C8A-AD0D-683909B9569F}">
      <dgm:prSet phldrT="[Texto]" custT="1"/>
      <dgm:spPr>
        <a:solidFill>
          <a:srgbClr val="D1F7EA">
            <a:alpha val="90000"/>
          </a:srgbClr>
        </a:solidFill>
        <a:ln>
          <a:solidFill>
            <a:srgbClr val="008080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  <a:latin typeface="+mn-lt"/>
            </a:rPr>
            <a:t>Clientes: </a:t>
          </a:r>
        </a:p>
        <a:p>
          <a:pPr algn="l"/>
          <a:r>
            <a:rPr lang="es-CL" sz="1100" b="1" dirty="0">
              <a:solidFill>
                <a:srgbClr val="1B1B1B"/>
              </a:solidFill>
              <a:latin typeface="+mn-lt"/>
            </a:rPr>
            <a:t>- </a:t>
          </a:r>
          <a:r>
            <a:rPr lang="es-CL" sz="1100" dirty="0">
              <a:solidFill>
                <a:srgbClr val="1B1B1B"/>
              </a:solidFill>
              <a:latin typeface="+mn-lt"/>
            </a:rPr>
            <a:t>Encargados de programa MINSAL</a:t>
          </a:r>
        </a:p>
        <a:p>
          <a:pPr algn="l"/>
          <a:r>
            <a:rPr lang="es-CL" sz="1100" dirty="0">
              <a:solidFill>
                <a:srgbClr val="1B1B1B"/>
              </a:solidFill>
              <a:latin typeface="+mn-lt"/>
            </a:rPr>
            <a:t>- Fiscalizadores</a:t>
          </a:r>
        </a:p>
      </dgm:t>
    </dgm:pt>
    <dgm:pt modelId="{FFDDB0D2-5FB1-48A8-B604-54515B928839}" type="parTrans" cxnId="{771048F8-E9C8-47C5-8E0B-30C6C3E97A41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F2C0A5FA-0B8C-4D7C-AB9B-CB7F02674230}" type="sibTrans" cxnId="{771048F8-E9C8-47C5-8E0B-30C6C3E97A41}">
      <dgm:prSet/>
      <dgm:spPr/>
      <dgm:t>
        <a:bodyPr/>
        <a:lstStyle/>
        <a:p>
          <a:endParaRPr lang="es-CL"/>
        </a:p>
      </dgm:t>
    </dgm:pt>
    <dgm:pt modelId="{145DC95C-343A-4833-828F-640ECE557A3C}">
      <dgm:prSet phldrT="[Texto]" custT="1"/>
      <dgm:spPr>
        <a:solidFill>
          <a:srgbClr val="FFE2C5">
            <a:alpha val="89804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Objetivo: </a:t>
          </a:r>
          <a:r>
            <a:rPr lang="es-CL" sz="1100" b="0" dirty="0">
              <a:solidFill>
                <a:srgbClr val="1B1B1B"/>
              </a:solidFill>
            </a:rPr>
            <a:t>Minimizar el riesgo de reintroducción y dispersión   </a:t>
          </a:r>
          <a:r>
            <a:rPr lang="es-CL" sz="1100" b="1" dirty="0">
              <a:solidFill>
                <a:srgbClr val="1B1B1B"/>
              </a:solidFill>
            </a:rPr>
            <a:t> </a:t>
          </a:r>
          <a:endParaRPr lang="es-CL" sz="1100" b="0" dirty="0">
            <a:solidFill>
              <a:srgbClr val="1B1B1B"/>
            </a:solidFill>
          </a:endParaRPr>
        </a:p>
      </dgm:t>
    </dgm:pt>
    <dgm:pt modelId="{1DCA5167-A940-4F7B-9438-7F81018BACA0}" type="parTrans" cxnId="{A471BC58-013B-4DA0-AFF6-D8784BCDD3E2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08A4C67C-F3AE-41D6-BE38-3A89DDEFAEBD}" type="sibTrans" cxnId="{A471BC58-013B-4DA0-AFF6-D8784BCDD3E2}">
      <dgm:prSet/>
      <dgm:spPr/>
      <dgm:t>
        <a:bodyPr/>
        <a:lstStyle/>
        <a:p>
          <a:endParaRPr lang="es-CL"/>
        </a:p>
      </dgm:t>
    </dgm:pt>
    <dgm:pt modelId="{9A2BBAB2-C159-4901-841E-042B80A8B630}">
      <dgm:prSet phldrT="[Texto]" custT="1"/>
      <dgm:spPr>
        <a:solidFill>
          <a:srgbClr val="FFE2C5">
            <a:alpha val="90000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  <a:latin typeface="+mn-lt"/>
            </a:rPr>
            <a:t>Clientes: </a:t>
          </a:r>
        </a:p>
        <a:p>
          <a:pPr algn="l"/>
          <a:r>
            <a:rPr lang="es-CL" sz="1100" b="1" dirty="0">
              <a:solidFill>
                <a:srgbClr val="1B1B1B"/>
              </a:solidFill>
              <a:latin typeface="+mn-lt"/>
            </a:rPr>
            <a:t>- </a:t>
          </a:r>
          <a:r>
            <a:rPr lang="es-CL" sz="1100" dirty="0">
              <a:solidFill>
                <a:srgbClr val="1B1B1B"/>
              </a:solidFill>
              <a:latin typeface="+mn-lt"/>
            </a:rPr>
            <a:t>Encargados de programa MINSAL</a:t>
          </a:r>
        </a:p>
        <a:p>
          <a:pPr algn="l"/>
          <a:r>
            <a:rPr lang="es-CL" sz="1100" dirty="0">
              <a:solidFill>
                <a:srgbClr val="1B1B1B"/>
              </a:solidFill>
              <a:latin typeface="+mn-lt"/>
            </a:rPr>
            <a:t>- Inspectores</a:t>
          </a:r>
        </a:p>
      </dgm:t>
    </dgm:pt>
    <dgm:pt modelId="{DC38496F-F34A-4653-960F-5BF8B21424EF}" type="parTrans" cxnId="{594C592D-E613-40FC-A690-DF62E0FBC905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68EB307C-59AE-429F-9E36-04ACDA9A891E}" type="sibTrans" cxnId="{594C592D-E613-40FC-A690-DF62E0FBC905}">
      <dgm:prSet/>
      <dgm:spPr/>
      <dgm:t>
        <a:bodyPr/>
        <a:lstStyle/>
        <a:p>
          <a:endParaRPr lang="es-CL"/>
        </a:p>
      </dgm:t>
    </dgm:pt>
    <dgm:pt modelId="{8746147D-8DC9-41D2-AF76-E3393A23BB17}">
      <dgm:prSet phldrT="[Texto]" custT="1"/>
      <dgm:spPr>
        <a:solidFill>
          <a:srgbClr val="FF9933"/>
        </a:solidFill>
      </dgm:spPr>
      <dgm:t>
        <a:bodyPr/>
        <a:lstStyle/>
        <a:p>
          <a:r>
            <a:rPr lang="es-CL" sz="2000" dirty="0"/>
            <a:t>  MONITOREO CONTINENTAL</a:t>
          </a:r>
        </a:p>
      </dgm:t>
    </dgm:pt>
    <dgm:pt modelId="{0699C35D-9DBD-493E-9B35-13B32D239E2E}" type="sibTrans" cxnId="{E6512D42-E6E4-4A49-AA36-F146703C69EF}">
      <dgm:prSet/>
      <dgm:spPr/>
      <dgm:t>
        <a:bodyPr/>
        <a:lstStyle/>
        <a:p>
          <a:endParaRPr lang="es-CL"/>
        </a:p>
      </dgm:t>
    </dgm:pt>
    <dgm:pt modelId="{9A0210E9-5A8C-4027-B606-6E0EAF96BFF0}" type="parTrans" cxnId="{E6512D42-E6E4-4A49-AA36-F146703C69EF}">
      <dgm:prSet/>
      <dgm:spPr/>
      <dgm:t>
        <a:bodyPr/>
        <a:lstStyle/>
        <a:p>
          <a:endParaRPr lang="es-CL"/>
        </a:p>
      </dgm:t>
    </dgm:pt>
    <dgm:pt modelId="{F9BDD195-9873-4859-9E5A-366D4086EBC9}">
      <dgm:prSet custT="1"/>
      <dgm:spPr>
        <a:solidFill>
          <a:srgbClr val="B233D5"/>
        </a:solidFill>
      </dgm:spPr>
      <dgm:t>
        <a:bodyPr/>
        <a:lstStyle/>
        <a:p>
          <a:r>
            <a:rPr lang="es-CL" sz="2000" dirty="0"/>
            <a:t>ALIMENTOS</a:t>
          </a:r>
        </a:p>
      </dgm:t>
    </dgm:pt>
    <dgm:pt modelId="{A89CC6C9-14BA-401B-8443-BE2B227722C5}" type="parTrans" cxnId="{084421BF-DD3B-4890-9D87-C4E1D7C29747}">
      <dgm:prSet/>
      <dgm:spPr/>
      <dgm:t>
        <a:bodyPr/>
        <a:lstStyle/>
        <a:p>
          <a:endParaRPr lang="es-CL"/>
        </a:p>
      </dgm:t>
    </dgm:pt>
    <dgm:pt modelId="{99B011BA-4964-47D2-86CE-3546E15448AC}" type="sibTrans" cxnId="{084421BF-DD3B-4890-9D87-C4E1D7C29747}">
      <dgm:prSet/>
      <dgm:spPr/>
      <dgm:t>
        <a:bodyPr/>
        <a:lstStyle/>
        <a:p>
          <a:endParaRPr lang="es-CL"/>
        </a:p>
      </dgm:t>
    </dgm:pt>
    <dgm:pt modelId="{06866570-9937-4602-80F8-51DB56C03E75}">
      <dgm:prSet custT="1"/>
      <dgm:spPr>
        <a:solidFill>
          <a:srgbClr val="E7E7FF">
            <a:alpha val="89804"/>
          </a:srgbClr>
        </a:solidFill>
        <a:ln>
          <a:solidFill>
            <a:srgbClr val="770EB2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Objetivo: </a:t>
          </a:r>
          <a:r>
            <a:rPr lang="es-CL" sz="1100" b="0" dirty="0">
              <a:solidFill>
                <a:srgbClr val="1B1B1B"/>
              </a:solidFill>
            </a:rPr>
            <a:t>Garantizar la seguridad alimentaria de los consumidores a través de la inocuidad de los alimentos.  </a:t>
          </a:r>
          <a:endParaRPr lang="es-CL" sz="2000" b="0" dirty="0">
            <a:solidFill>
              <a:srgbClr val="1B1B1B"/>
            </a:solidFill>
          </a:endParaRPr>
        </a:p>
      </dgm:t>
    </dgm:pt>
    <dgm:pt modelId="{B784CD62-3076-425C-B3D6-396E8EFD4C85}" type="parTrans" cxnId="{59341204-84A7-49A8-B95D-4B6AAB2309D6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9AEED5E1-2059-4EC2-ABAD-2BA2880E5ED4}" type="sibTrans" cxnId="{59341204-84A7-49A8-B95D-4B6AAB2309D6}">
      <dgm:prSet/>
      <dgm:spPr/>
      <dgm:t>
        <a:bodyPr/>
        <a:lstStyle/>
        <a:p>
          <a:endParaRPr lang="es-CL"/>
        </a:p>
      </dgm:t>
    </dgm:pt>
    <dgm:pt modelId="{F37EA4B3-B179-4A1E-8903-25972DA5E959}">
      <dgm:prSet custT="1"/>
      <dgm:spPr>
        <a:solidFill>
          <a:srgbClr val="E7E7FF">
            <a:alpha val="90000"/>
          </a:srgbClr>
        </a:solidFill>
        <a:ln>
          <a:solidFill>
            <a:srgbClr val="770EB2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  <a:latin typeface="+mn-lt"/>
            </a:rPr>
            <a:t>Clientes: </a:t>
          </a:r>
        </a:p>
        <a:p>
          <a:pPr algn="l"/>
          <a:r>
            <a:rPr lang="es-CL" sz="1100" b="1" dirty="0">
              <a:solidFill>
                <a:srgbClr val="1B1B1B"/>
              </a:solidFill>
              <a:latin typeface="+mn-lt"/>
            </a:rPr>
            <a:t>- </a:t>
          </a:r>
          <a:r>
            <a:rPr lang="es-CL" sz="1100" dirty="0">
              <a:solidFill>
                <a:srgbClr val="1B1B1B"/>
              </a:solidFill>
              <a:latin typeface="+mn-lt"/>
            </a:rPr>
            <a:t>Encargados de programa MINSAL</a:t>
          </a:r>
        </a:p>
        <a:p>
          <a:pPr algn="l"/>
          <a:r>
            <a:rPr lang="es-CL" sz="1100" dirty="0">
              <a:solidFill>
                <a:srgbClr val="1B1B1B"/>
              </a:solidFill>
              <a:latin typeface="+mn-lt"/>
            </a:rPr>
            <a:t>- Fiscalizadores</a:t>
          </a:r>
        </a:p>
      </dgm:t>
    </dgm:pt>
    <dgm:pt modelId="{0B252B1E-5D95-4ADA-85A1-383A472B6801}" type="parTrans" cxnId="{AB62E428-39A2-46A4-99FA-8D40829DEA56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2D63E125-422D-4331-9961-069DD95A0569}" type="sibTrans" cxnId="{AB62E428-39A2-46A4-99FA-8D40829DEA56}">
      <dgm:prSet/>
      <dgm:spPr/>
      <dgm:t>
        <a:bodyPr/>
        <a:lstStyle/>
        <a:p>
          <a:endParaRPr lang="es-CL"/>
        </a:p>
      </dgm:t>
    </dgm:pt>
    <dgm:pt modelId="{D2883BF8-8F9D-4EA2-8AF4-AD8BBBA155D8}">
      <dgm:prSet custT="1"/>
      <dgm:spPr>
        <a:solidFill>
          <a:srgbClr val="E7E7FF">
            <a:alpha val="90000"/>
          </a:srgbClr>
        </a:solidFill>
        <a:ln>
          <a:solidFill>
            <a:srgbClr val="770EB2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Referente: </a:t>
          </a:r>
        </a:p>
        <a:p>
          <a:pPr algn="l"/>
          <a:r>
            <a:rPr lang="es-CL" sz="1100" dirty="0">
              <a:solidFill>
                <a:srgbClr val="1B1B1B"/>
              </a:solidFill>
            </a:rPr>
            <a:t>Marcelo Ulloa</a:t>
          </a:r>
        </a:p>
        <a:p>
          <a:pPr algn="l"/>
          <a:r>
            <a:rPr lang="es-CL" sz="1100" dirty="0">
              <a:solidFill>
                <a:srgbClr val="1B1B1B"/>
              </a:solidFill>
            </a:rPr>
            <a:t>Silvia Baeza</a:t>
          </a:r>
        </a:p>
        <a:p>
          <a:pPr algn="l"/>
          <a:r>
            <a:rPr lang="es-CL" sz="1100" dirty="0">
              <a:solidFill>
                <a:srgbClr val="1B1B1B"/>
              </a:solidFill>
            </a:rPr>
            <a:t>Cristian Cofré</a:t>
          </a:r>
        </a:p>
      </dgm:t>
    </dgm:pt>
    <dgm:pt modelId="{0076D393-258B-411F-9E1B-45EEB92551EE}" type="parTrans" cxnId="{5E86D010-5A1C-49FC-8919-E63C3A0F4C8E}">
      <dgm:prSet/>
      <dgm:spPr>
        <a:solidFill>
          <a:schemeClr val="tx1">
            <a:lumMod val="65000"/>
          </a:schemeClr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endParaRPr lang="es-CL"/>
        </a:p>
      </dgm:t>
    </dgm:pt>
    <dgm:pt modelId="{091B76C2-98AD-4FDC-9433-2E707496C7E7}" type="sibTrans" cxnId="{5E86D010-5A1C-49FC-8919-E63C3A0F4C8E}">
      <dgm:prSet/>
      <dgm:spPr/>
      <dgm:t>
        <a:bodyPr/>
        <a:lstStyle/>
        <a:p>
          <a:endParaRPr lang="es-CL"/>
        </a:p>
      </dgm:t>
    </dgm:pt>
    <dgm:pt modelId="{F9B2E840-DE88-441B-8F8F-A2DE66ED0633}">
      <dgm:prSet custT="1"/>
      <dgm:spPr>
        <a:solidFill>
          <a:srgbClr val="D1F7EA">
            <a:alpha val="90000"/>
          </a:srgbClr>
        </a:solidFill>
        <a:ln>
          <a:solidFill>
            <a:srgbClr val="008080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Referente: </a:t>
          </a:r>
        </a:p>
        <a:p>
          <a:pPr algn="l"/>
          <a:r>
            <a:rPr lang="es-CL" sz="1100" dirty="0">
              <a:solidFill>
                <a:srgbClr val="1B1B1B"/>
              </a:solidFill>
            </a:rPr>
            <a:t>Cristian Villarroel</a:t>
          </a:r>
        </a:p>
      </dgm:t>
    </dgm:pt>
    <dgm:pt modelId="{9521B682-538C-4B7C-8D37-8F635E3CEDCF}" type="parTrans" cxnId="{9488A6F3-A97B-4440-8CCF-1D1C8498DB65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C0B8BDFE-6B71-412F-87BA-AE560DB88854}" type="sibTrans" cxnId="{9488A6F3-A97B-4440-8CCF-1D1C8498DB65}">
      <dgm:prSet/>
      <dgm:spPr/>
      <dgm:t>
        <a:bodyPr/>
        <a:lstStyle/>
        <a:p>
          <a:endParaRPr lang="es-CL"/>
        </a:p>
      </dgm:t>
    </dgm:pt>
    <dgm:pt modelId="{79272D6E-260D-4233-BB8C-2615A79B2370}">
      <dgm:prSet custT="1"/>
      <dgm:spPr>
        <a:solidFill>
          <a:srgbClr val="FFE2C5">
            <a:alpha val="90000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Referente:</a:t>
          </a:r>
          <a:endParaRPr lang="es-CL" sz="2000" b="1" dirty="0">
            <a:solidFill>
              <a:srgbClr val="1B1B1B"/>
            </a:solidFill>
          </a:endParaRPr>
        </a:p>
        <a:p>
          <a:pPr algn="l"/>
          <a:r>
            <a:rPr lang="es-CL" sz="1100" dirty="0">
              <a:solidFill>
                <a:srgbClr val="1B1B1B"/>
              </a:solidFill>
            </a:rPr>
            <a:t>Bárbara </a:t>
          </a:r>
          <a:r>
            <a:rPr lang="es-CL" sz="1100" dirty="0" err="1">
              <a:solidFill>
                <a:srgbClr val="1B1B1B"/>
              </a:solidFill>
            </a:rPr>
            <a:t>Hott</a:t>
          </a:r>
          <a:endParaRPr lang="es-CL" sz="1100" dirty="0">
            <a:solidFill>
              <a:srgbClr val="1B1B1B"/>
            </a:solidFill>
          </a:endParaRPr>
        </a:p>
      </dgm:t>
    </dgm:pt>
    <dgm:pt modelId="{DCC9AE9E-E07F-4170-A9FA-84A7499D7727}" type="parTrans" cxnId="{2FCEB088-16D6-47CC-8CDA-D10E0FE24B49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071D1648-D77A-43D6-BA13-C7FC8C12C3C7}" type="sibTrans" cxnId="{2FCEB088-16D6-47CC-8CDA-D10E0FE24B49}">
      <dgm:prSet/>
      <dgm:spPr/>
      <dgm:t>
        <a:bodyPr/>
        <a:lstStyle/>
        <a:p>
          <a:endParaRPr lang="es-CL"/>
        </a:p>
      </dgm:t>
    </dgm:pt>
    <dgm:pt modelId="{B025C224-6AB6-4DA0-9D7C-A18572E7C3E7}">
      <dgm:prSet custT="1"/>
      <dgm:spPr>
        <a:solidFill>
          <a:srgbClr val="FFE2C5">
            <a:alpha val="90000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Impacto (+):</a:t>
          </a:r>
          <a:r>
            <a:rPr lang="es-CL" sz="1100" b="0" dirty="0">
              <a:solidFill>
                <a:srgbClr val="1B1B1B"/>
              </a:solidFill>
            </a:rPr>
            <a:t>Reducir el impacto social y económico</a:t>
          </a:r>
          <a:endParaRPr lang="es-CL" sz="2400" b="0" dirty="0">
            <a:solidFill>
              <a:srgbClr val="1B1B1B"/>
            </a:solidFill>
          </a:endParaRPr>
        </a:p>
      </dgm:t>
    </dgm:pt>
    <dgm:pt modelId="{0584F9A7-3B88-4429-B30D-6B7D69D8BF3E}" type="parTrans" cxnId="{A0992136-E705-48C0-840D-27FD58FB9299}">
      <dgm:prSet/>
      <dgm:spPr>
        <a:solidFill>
          <a:schemeClr val="tx1">
            <a:lumMod val="65000"/>
          </a:schemeClr>
        </a:solidFill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3520BF3D-E159-4622-8A4E-105E1C511458}" type="sibTrans" cxnId="{A0992136-E705-48C0-840D-27FD58FB9299}">
      <dgm:prSet/>
      <dgm:spPr/>
      <dgm:t>
        <a:bodyPr/>
        <a:lstStyle/>
        <a:p>
          <a:endParaRPr lang="es-CL"/>
        </a:p>
      </dgm:t>
    </dgm:pt>
    <dgm:pt modelId="{0EF02B3D-83A1-4FFD-9A2F-B47840B73872}">
      <dgm:prSet phldrT="[Texto]"/>
      <dgm:spPr>
        <a:solidFill>
          <a:srgbClr val="FF9933"/>
        </a:solidFill>
      </dgm:spPr>
      <dgm:t>
        <a:bodyPr/>
        <a:lstStyle/>
        <a:p>
          <a:r>
            <a:rPr lang="es-CL" dirty="0"/>
            <a:t>  MONITOREO INSULAR</a:t>
          </a:r>
        </a:p>
      </dgm:t>
    </dgm:pt>
    <dgm:pt modelId="{4850EE69-15BE-4D5B-80D3-CC9D2E4DD202}" type="parTrans" cxnId="{A15A636A-D352-4DCF-BA62-3F9090E6744D}">
      <dgm:prSet/>
      <dgm:spPr/>
      <dgm:t>
        <a:bodyPr/>
        <a:lstStyle/>
        <a:p>
          <a:endParaRPr lang="es-ES"/>
        </a:p>
      </dgm:t>
    </dgm:pt>
    <dgm:pt modelId="{811107CF-E72B-46D2-A73C-4BF41D68B7EB}" type="sibTrans" cxnId="{A15A636A-D352-4DCF-BA62-3F9090E6744D}">
      <dgm:prSet/>
      <dgm:spPr/>
      <dgm:t>
        <a:bodyPr/>
        <a:lstStyle/>
        <a:p>
          <a:endParaRPr lang="es-ES"/>
        </a:p>
      </dgm:t>
    </dgm:pt>
    <dgm:pt modelId="{25E13BD1-56C0-42FE-BA2F-BEAAB3C503DF}">
      <dgm:prSet phldrT="[Texto]" custT="1"/>
      <dgm:spPr>
        <a:solidFill>
          <a:srgbClr val="FFE2C5">
            <a:alpha val="89804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Objetivo: </a:t>
          </a:r>
          <a:r>
            <a:rPr lang="es-CL" sz="1100" b="0" dirty="0">
              <a:solidFill>
                <a:srgbClr val="1B1B1B"/>
              </a:solidFill>
            </a:rPr>
            <a:t>Controlar infestación de </a:t>
          </a:r>
          <a:r>
            <a:rPr lang="es-CL" sz="1100" b="0" i="1" dirty="0">
              <a:solidFill>
                <a:srgbClr val="1B1B1B"/>
              </a:solidFill>
            </a:rPr>
            <a:t>Aedes </a:t>
          </a:r>
          <a:r>
            <a:rPr lang="es-CL" sz="1100" b="0" i="1" dirty="0" err="1">
              <a:solidFill>
                <a:srgbClr val="1B1B1B"/>
              </a:solidFill>
            </a:rPr>
            <a:t>Aegypti</a:t>
          </a:r>
          <a:endParaRPr lang="es-CL" sz="1100" b="0" i="1" dirty="0">
            <a:solidFill>
              <a:srgbClr val="1B1B1B"/>
            </a:solidFill>
          </a:endParaRPr>
        </a:p>
      </dgm:t>
    </dgm:pt>
    <dgm:pt modelId="{1E5F0F43-65C0-4966-8B94-68557E8A8FD2}" type="parTrans" cxnId="{D3AF7A4D-D5F4-47D8-89C8-5158F758A0B5}">
      <dgm:prSet/>
      <dgm:spPr/>
      <dgm:t>
        <a:bodyPr/>
        <a:lstStyle/>
        <a:p>
          <a:endParaRPr lang="es-ES"/>
        </a:p>
      </dgm:t>
    </dgm:pt>
    <dgm:pt modelId="{7A023CD7-1392-47DC-8282-82672F3B8E94}" type="sibTrans" cxnId="{D3AF7A4D-D5F4-47D8-89C8-5158F758A0B5}">
      <dgm:prSet/>
      <dgm:spPr/>
      <dgm:t>
        <a:bodyPr/>
        <a:lstStyle/>
        <a:p>
          <a:endParaRPr lang="es-ES"/>
        </a:p>
      </dgm:t>
    </dgm:pt>
    <dgm:pt modelId="{0652A6FA-76B7-41E1-B1A3-B5123CD36F17}">
      <dgm:prSet phldrT="[Texto]" custT="1"/>
      <dgm:spPr>
        <a:solidFill>
          <a:srgbClr val="FFE2C5">
            <a:alpha val="90000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000" b="1" dirty="0">
              <a:solidFill>
                <a:srgbClr val="1B1B1B"/>
              </a:solidFill>
              <a:latin typeface="+mn-lt"/>
            </a:rPr>
            <a:t>Cliente Interno:</a:t>
          </a:r>
        </a:p>
        <a:p>
          <a:pPr algn="l"/>
          <a:r>
            <a:rPr lang="es-CL" sz="1000" b="1" dirty="0">
              <a:solidFill>
                <a:srgbClr val="1B1B1B"/>
              </a:solidFill>
              <a:latin typeface="+mn-lt"/>
            </a:rPr>
            <a:t>- </a:t>
          </a:r>
          <a:r>
            <a:rPr lang="es-CL" sz="1000" dirty="0">
              <a:solidFill>
                <a:srgbClr val="1B1B1B"/>
              </a:solidFill>
              <a:latin typeface="+mn-lt"/>
            </a:rPr>
            <a:t>Encargados de programa</a:t>
          </a:r>
        </a:p>
        <a:p>
          <a:pPr algn="l"/>
          <a:r>
            <a:rPr lang="es-CL" sz="1000" dirty="0">
              <a:solidFill>
                <a:srgbClr val="1B1B1B"/>
              </a:solidFill>
              <a:latin typeface="+mn-lt"/>
            </a:rPr>
            <a:t>- Inspectores</a:t>
          </a:r>
        </a:p>
        <a:p>
          <a:pPr algn="l"/>
          <a:r>
            <a:rPr lang="es-CL" sz="1000" b="1" dirty="0">
              <a:solidFill>
                <a:srgbClr val="1B1B1B"/>
              </a:solidFill>
              <a:latin typeface="+mn-lt"/>
            </a:rPr>
            <a:t>Cliente Externo</a:t>
          </a:r>
          <a:r>
            <a:rPr lang="es-ES" sz="1000" b="1" dirty="0">
              <a:solidFill>
                <a:srgbClr val="1B1B1B"/>
              </a:solidFill>
              <a:latin typeface="+mn-lt"/>
            </a:rPr>
            <a:t>:</a:t>
          </a:r>
          <a:r>
            <a:rPr lang="es-CL" sz="1000" b="1" dirty="0">
              <a:solidFill>
                <a:srgbClr val="1B1B1B"/>
              </a:solidFill>
              <a:latin typeface="+mn-lt"/>
            </a:rPr>
            <a:t> </a:t>
          </a:r>
          <a:r>
            <a:rPr lang="es-CL" sz="1000" dirty="0">
              <a:solidFill>
                <a:srgbClr val="1B1B1B"/>
              </a:solidFill>
              <a:latin typeface="+mn-lt"/>
            </a:rPr>
            <a:t>Comunidad</a:t>
          </a:r>
        </a:p>
      </dgm:t>
    </dgm:pt>
    <dgm:pt modelId="{08100822-BC5B-4759-A7E9-192366A480EC}" type="parTrans" cxnId="{9E90FAA3-508C-4730-99DB-54D644437BB6}">
      <dgm:prSet/>
      <dgm:spPr/>
      <dgm:t>
        <a:bodyPr/>
        <a:lstStyle/>
        <a:p>
          <a:endParaRPr lang="es-ES"/>
        </a:p>
      </dgm:t>
    </dgm:pt>
    <dgm:pt modelId="{6EFF2A5B-9495-4B97-B181-9FFD9E1CE878}" type="sibTrans" cxnId="{9E90FAA3-508C-4730-99DB-54D644437BB6}">
      <dgm:prSet/>
      <dgm:spPr/>
      <dgm:t>
        <a:bodyPr/>
        <a:lstStyle/>
        <a:p>
          <a:endParaRPr lang="es-ES"/>
        </a:p>
      </dgm:t>
    </dgm:pt>
    <dgm:pt modelId="{520B5CD5-F714-4B4A-B448-3DC58E282121}">
      <dgm:prSet custT="1"/>
      <dgm:spPr>
        <a:solidFill>
          <a:srgbClr val="FFE2C5">
            <a:alpha val="90000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Referente:</a:t>
          </a:r>
        </a:p>
        <a:p>
          <a:pPr algn="l"/>
          <a:r>
            <a:rPr lang="es-CL" sz="1100" dirty="0">
              <a:solidFill>
                <a:srgbClr val="1B1B1B"/>
              </a:solidFill>
            </a:rPr>
            <a:t>Bárbara </a:t>
          </a:r>
          <a:r>
            <a:rPr lang="es-CL" sz="1100" dirty="0" err="1">
              <a:solidFill>
                <a:srgbClr val="1B1B1B"/>
              </a:solidFill>
            </a:rPr>
            <a:t>Hott</a:t>
          </a:r>
          <a:endParaRPr lang="es-CL" sz="1100" dirty="0">
            <a:solidFill>
              <a:srgbClr val="1B1B1B"/>
            </a:solidFill>
          </a:endParaRPr>
        </a:p>
      </dgm:t>
    </dgm:pt>
    <dgm:pt modelId="{FDF90672-9DCC-49A1-88EC-47C6EE561620}" type="parTrans" cxnId="{C75D838A-86D1-4B65-8930-1949EE676174}">
      <dgm:prSet/>
      <dgm:spPr/>
      <dgm:t>
        <a:bodyPr/>
        <a:lstStyle/>
        <a:p>
          <a:endParaRPr lang="es-ES"/>
        </a:p>
      </dgm:t>
    </dgm:pt>
    <dgm:pt modelId="{D233F710-192A-459E-BA1E-4B4627B47C7D}" type="sibTrans" cxnId="{C75D838A-86D1-4B65-8930-1949EE676174}">
      <dgm:prSet/>
      <dgm:spPr/>
      <dgm:t>
        <a:bodyPr/>
        <a:lstStyle/>
        <a:p>
          <a:endParaRPr lang="es-ES"/>
        </a:p>
      </dgm:t>
    </dgm:pt>
    <dgm:pt modelId="{ADD12BED-F60A-4423-9A67-D1C09AA09E3B}">
      <dgm:prSet custT="1"/>
      <dgm:spPr>
        <a:solidFill>
          <a:srgbClr val="FFE2C5">
            <a:alpha val="90000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ctr"/>
          <a:endParaRPr lang="es-CL" sz="1100" b="1" dirty="0">
            <a:solidFill>
              <a:srgbClr val="1B1B1B"/>
            </a:solidFill>
          </a:endParaRPr>
        </a:p>
        <a:p>
          <a:pPr algn="l"/>
          <a:r>
            <a:rPr lang="es-CL" sz="1100" b="1" dirty="0">
              <a:solidFill>
                <a:srgbClr val="1B1B1B"/>
              </a:solidFill>
            </a:rPr>
            <a:t>Impacto (+):</a:t>
          </a:r>
          <a:r>
            <a:rPr lang="es-CL" sz="1100" b="0" dirty="0">
              <a:solidFill>
                <a:srgbClr val="1B1B1B"/>
              </a:solidFill>
            </a:rPr>
            <a:t>Reducir el impacto social y económico.</a:t>
          </a:r>
        </a:p>
        <a:p>
          <a:pPr algn="l"/>
          <a:r>
            <a:rPr lang="es-CL" sz="1100" b="0" dirty="0">
              <a:solidFill>
                <a:srgbClr val="1B1B1B"/>
              </a:solidFill>
            </a:rPr>
            <a:t>Disminuir la </a:t>
          </a:r>
          <a:r>
            <a:rPr lang="es-CL" sz="1100" b="0" dirty="0" err="1">
              <a:solidFill>
                <a:srgbClr val="1B1B1B"/>
              </a:solidFill>
            </a:rPr>
            <a:t>morbi</a:t>
          </a:r>
          <a:r>
            <a:rPr lang="es-CL" sz="1100" b="0" dirty="0">
              <a:solidFill>
                <a:srgbClr val="1B1B1B"/>
              </a:solidFill>
            </a:rPr>
            <a:t> -mortalidad</a:t>
          </a:r>
        </a:p>
        <a:p>
          <a:pPr algn="ctr"/>
          <a:endParaRPr lang="es-CL" sz="1100" b="0" dirty="0">
            <a:solidFill>
              <a:srgbClr val="1B1B1B"/>
            </a:solidFill>
          </a:endParaRPr>
        </a:p>
      </dgm:t>
    </dgm:pt>
    <dgm:pt modelId="{F2B45D32-39B9-4690-B88E-99730CFCA1C4}" type="parTrans" cxnId="{3BBCF73E-7E5F-4F97-A8E5-EF645B5A97D3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8B5ACE47-F3AF-4EF9-8217-E9256EF969C5}" type="sibTrans" cxnId="{3BBCF73E-7E5F-4F97-A8E5-EF645B5A97D3}">
      <dgm:prSet/>
      <dgm:spPr/>
      <dgm:t>
        <a:bodyPr/>
        <a:lstStyle/>
        <a:p>
          <a:endParaRPr lang="es-ES"/>
        </a:p>
      </dgm:t>
    </dgm:pt>
    <dgm:pt modelId="{9B7985EC-B0EF-4343-B642-77C28343B400}" type="pres">
      <dgm:prSet presAssocID="{C1FBEED3-01B1-46F3-B957-C11B257F1AE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ES"/>
        </a:p>
      </dgm:t>
    </dgm:pt>
    <dgm:pt modelId="{E0EA4377-9324-445C-BE79-82DCA49297B7}" type="pres">
      <dgm:prSet presAssocID="{CF0A68FE-74EF-4AA2-9ED9-7B01612DF642}" presName="root" presStyleCnt="0"/>
      <dgm:spPr/>
    </dgm:pt>
    <dgm:pt modelId="{B65F52D6-B171-48CC-A37C-D69CDDA68680}" type="pres">
      <dgm:prSet presAssocID="{CF0A68FE-74EF-4AA2-9ED9-7B01612DF642}" presName="rootComposite" presStyleCnt="0"/>
      <dgm:spPr/>
    </dgm:pt>
    <dgm:pt modelId="{7A36CD1C-4CDD-455D-9997-CCE8CF7F334A}" type="pres">
      <dgm:prSet presAssocID="{CF0A68FE-74EF-4AA2-9ED9-7B01612DF642}" presName="rootText" presStyleLbl="node1" presStyleIdx="0" presStyleCnt="4" custScaleX="117799" custLinFactNeighborX="7699" custLinFactNeighborY="4550"/>
      <dgm:spPr/>
      <dgm:t>
        <a:bodyPr/>
        <a:lstStyle/>
        <a:p>
          <a:endParaRPr lang="es-ES"/>
        </a:p>
      </dgm:t>
    </dgm:pt>
    <dgm:pt modelId="{2F95051D-7999-4B57-B62B-0A8E93ED2CF3}" type="pres">
      <dgm:prSet presAssocID="{CF0A68FE-74EF-4AA2-9ED9-7B01612DF642}" presName="rootConnector" presStyleLbl="node1" presStyleIdx="0" presStyleCnt="4"/>
      <dgm:spPr/>
      <dgm:t>
        <a:bodyPr/>
        <a:lstStyle/>
        <a:p>
          <a:endParaRPr lang="es-ES"/>
        </a:p>
      </dgm:t>
    </dgm:pt>
    <dgm:pt modelId="{90052C28-923F-4976-8A30-1CBD34BA8232}" type="pres">
      <dgm:prSet presAssocID="{CF0A68FE-74EF-4AA2-9ED9-7B01612DF642}" presName="childShape" presStyleCnt="0"/>
      <dgm:spPr/>
    </dgm:pt>
    <dgm:pt modelId="{E0CA4CE8-DF13-4590-987B-E1F14878D0D0}" type="pres">
      <dgm:prSet presAssocID="{A3E631B7-9209-4F79-8B7D-78DADD695CB6}" presName="Name13" presStyleLbl="parChTrans1D2" presStyleIdx="0" presStyleCnt="14"/>
      <dgm:spPr/>
      <dgm:t>
        <a:bodyPr/>
        <a:lstStyle/>
        <a:p>
          <a:endParaRPr lang="es-ES"/>
        </a:p>
      </dgm:t>
    </dgm:pt>
    <dgm:pt modelId="{425CC0D6-A987-4F3E-A514-4EB36E1C05A6}" type="pres">
      <dgm:prSet presAssocID="{19776E37-EBC8-420B-8C42-4ADFECCD7262}" presName="childText" presStyleLbl="bgAcc1" presStyleIdx="0" presStyleCnt="14" custScaleX="120328" custLinFactNeighborX="848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EDB7E69-381A-499F-BF32-533698ED6D9E}" type="pres">
      <dgm:prSet presAssocID="{FFDDB0D2-5FB1-48A8-B604-54515B928839}" presName="Name13" presStyleLbl="parChTrans1D2" presStyleIdx="1" presStyleCnt="14"/>
      <dgm:spPr/>
      <dgm:t>
        <a:bodyPr/>
        <a:lstStyle/>
        <a:p>
          <a:endParaRPr lang="es-ES"/>
        </a:p>
      </dgm:t>
    </dgm:pt>
    <dgm:pt modelId="{C498833A-40BB-462F-8173-10509195D56C}" type="pres">
      <dgm:prSet presAssocID="{2734CC2E-851E-4C8A-AD0D-683909B9569F}" presName="childText" presStyleLbl="bgAcc1" presStyleIdx="1" presStyleCnt="14" custScaleX="111919" custLinFactNeighborX="8485" custLinFactNeighborY="151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090B7D8-B3E0-4B2F-AFC1-6E82D4E32AFB}" type="pres">
      <dgm:prSet presAssocID="{9521B682-538C-4B7C-8D37-8F635E3CEDCF}" presName="Name13" presStyleLbl="parChTrans1D2" presStyleIdx="2" presStyleCnt="14"/>
      <dgm:spPr/>
      <dgm:t>
        <a:bodyPr/>
        <a:lstStyle/>
        <a:p>
          <a:endParaRPr lang="es-ES"/>
        </a:p>
      </dgm:t>
    </dgm:pt>
    <dgm:pt modelId="{52FB85B1-0560-4612-929C-E666117661C5}" type="pres">
      <dgm:prSet presAssocID="{F9B2E840-DE88-441B-8F8F-A2DE66ED0633}" presName="childText" presStyleLbl="bgAcc1" presStyleIdx="2" presStyleCnt="14" custScaleX="110076" custLinFactNeighborX="8485" custLinFactNeighborY="151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8A096D9-1EFA-44CE-ABCA-781100FE0571}" type="pres">
      <dgm:prSet presAssocID="{F9BDD195-9873-4859-9E5A-366D4086EBC9}" presName="root" presStyleCnt="0"/>
      <dgm:spPr/>
    </dgm:pt>
    <dgm:pt modelId="{C19C8F78-A25C-447B-AB15-580F4CDF29EF}" type="pres">
      <dgm:prSet presAssocID="{F9BDD195-9873-4859-9E5A-366D4086EBC9}" presName="rootComposite" presStyleCnt="0"/>
      <dgm:spPr/>
    </dgm:pt>
    <dgm:pt modelId="{7B33427B-A5D7-45FA-9C9F-3604B9916F97}" type="pres">
      <dgm:prSet presAssocID="{F9BDD195-9873-4859-9E5A-366D4086EBC9}" presName="rootText" presStyleLbl="node1" presStyleIdx="1" presStyleCnt="4" custLinFactNeighborX="3740" custLinFactNeighborY="6033"/>
      <dgm:spPr/>
      <dgm:t>
        <a:bodyPr/>
        <a:lstStyle/>
        <a:p>
          <a:endParaRPr lang="es-ES"/>
        </a:p>
      </dgm:t>
    </dgm:pt>
    <dgm:pt modelId="{153432B2-7305-4E7F-98B3-29ECE0996D08}" type="pres">
      <dgm:prSet presAssocID="{F9BDD195-9873-4859-9E5A-366D4086EBC9}" presName="rootConnector" presStyleLbl="node1" presStyleIdx="1" presStyleCnt="4"/>
      <dgm:spPr/>
      <dgm:t>
        <a:bodyPr/>
        <a:lstStyle/>
        <a:p>
          <a:endParaRPr lang="es-ES"/>
        </a:p>
      </dgm:t>
    </dgm:pt>
    <dgm:pt modelId="{8D01CE45-FB71-4B2F-8080-03B1F5F4DEB5}" type="pres">
      <dgm:prSet presAssocID="{F9BDD195-9873-4859-9E5A-366D4086EBC9}" presName="childShape" presStyleCnt="0"/>
      <dgm:spPr/>
    </dgm:pt>
    <dgm:pt modelId="{84099D88-DA45-493B-BC00-2EF75A9E221B}" type="pres">
      <dgm:prSet presAssocID="{B784CD62-3076-425C-B3D6-396E8EFD4C85}" presName="Name13" presStyleLbl="parChTrans1D2" presStyleIdx="3" presStyleCnt="14"/>
      <dgm:spPr/>
      <dgm:t>
        <a:bodyPr/>
        <a:lstStyle/>
        <a:p>
          <a:endParaRPr lang="es-ES"/>
        </a:p>
      </dgm:t>
    </dgm:pt>
    <dgm:pt modelId="{1D40BAC0-730F-468C-A268-4CE337B40F55}" type="pres">
      <dgm:prSet presAssocID="{06866570-9937-4602-80F8-51DB56C03E75}" presName="childText" presStyleLbl="bgAcc1" presStyleIdx="3" presStyleCnt="14" custScaleX="110664" custLinFactNeighborX="1429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4327BF4-1CE4-4EC1-B596-37CE9AA885DB}" type="pres">
      <dgm:prSet presAssocID="{0B252B1E-5D95-4ADA-85A1-383A472B6801}" presName="Name13" presStyleLbl="parChTrans1D2" presStyleIdx="4" presStyleCnt="14"/>
      <dgm:spPr/>
      <dgm:t>
        <a:bodyPr/>
        <a:lstStyle/>
        <a:p>
          <a:endParaRPr lang="es-ES"/>
        </a:p>
      </dgm:t>
    </dgm:pt>
    <dgm:pt modelId="{33080A38-A292-49F0-8CAD-FD2C02E715E4}" type="pres">
      <dgm:prSet presAssocID="{F37EA4B3-B179-4A1E-8903-25972DA5E959}" presName="childText" presStyleLbl="bgAcc1" presStyleIdx="4" presStyleCnt="14" custScaleX="108762" custScaleY="98719" custLinFactNeighborX="1147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D8356AA-4FF3-4C94-86D4-33D7492D9366}" type="pres">
      <dgm:prSet presAssocID="{0076D393-258B-411F-9E1B-45EEB92551EE}" presName="Name13" presStyleLbl="parChTrans1D2" presStyleIdx="5" presStyleCnt="14"/>
      <dgm:spPr/>
      <dgm:t>
        <a:bodyPr/>
        <a:lstStyle/>
        <a:p>
          <a:endParaRPr lang="es-ES"/>
        </a:p>
      </dgm:t>
    </dgm:pt>
    <dgm:pt modelId="{A9500BED-E339-42BC-86E0-49507C8F2259}" type="pres">
      <dgm:prSet presAssocID="{D2883BF8-8F9D-4EA2-8AF4-AD8BBBA155D8}" presName="childText" presStyleLbl="bgAcc1" presStyleIdx="5" presStyleCnt="14" custScaleX="110338" custScaleY="103374" custLinFactNeighborX="1147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5D23DC3-E02C-43C3-AF6A-33F3523254CB}" type="pres">
      <dgm:prSet presAssocID="{8746147D-8DC9-41D2-AF76-E3393A23BB17}" presName="root" presStyleCnt="0"/>
      <dgm:spPr/>
    </dgm:pt>
    <dgm:pt modelId="{4C2EB443-896C-4637-8823-9D5A5242112F}" type="pres">
      <dgm:prSet presAssocID="{8746147D-8DC9-41D2-AF76-E3393A23BB17}" presName="rootComposite" presStyleCnt="0"/>
      <dgm:spPr/>
    </dgm:pt>
    <dgm:pt modelId="{4A1F2038-FA57-4AC2-8252-3ACCDA100695}" type="pres">
      <dgm:prSet presAssocID="{8746147D-8DC9-41D2-AF76-E3393A23BB17}" presName="rootText" presStyleLbl="node1" presStyleIdx="2" presStyleCnt="4" custScaleX="120846" custScaleY="91867" custLinFactNeighborX="2641" custLinFactNeighborY="7617"/>
      <dgm:spPr/>
      <dgm:t>
        <a:bodyPr/>
        <a:lstStyle/>
        <a:p>
          <a:endParaRPr lang="es-ES"/>
        </a:p>
      </dgm:t>
    </dgm:pt>
    <dgm:pt modelId="{4A494DA0-FA72-44E1-902B-A8B74A7AFC5A}" type="pres">
      <dgm:prSet presAssocID="{8746147D-8DC9-41D2-AF76-E3393A23BB17}" presName="rootConnector" presStyleLbl="node1" presStyleIdx="2" presStyleCnt="4"/>
      <dgm:spPr/>
      <dgm:t>
        <a:bodyPr/>
        <a:lstStyle/>
        <a:p>
          <a:endParaRPr lang="es-ES"/>
        </a:p>
      </dgm:t>
    </dgm:pt>
    <dgm:pt modelId="{B1CED59B-0E8C-4780-AF03-6A8D8134D1DC}" type="pres">
      <dgm:prSet presAssocID="{8746147D-8DC9-41D2-AF76-E3393A23BB17}" presName="childShape" presStyleCnt="0"/>
      <dgm:spPr/>
    </dgm:pt>
    <dgm:pt modelId="{80AEAD2E-F332-49ED-B347-BB757F2051EC}" type="pres">
      <dgm:prSet presAssocID="{1DCA5167-A940-4F7B-9438-7F81018BACA0}" presName="Name13" presStyleLbl="parChTrans1D2" presStyleIdx="6" presStyleCnt="14"/>
      <dgm:spPr/>
      <dgm:t>
        <a:bodyPr/>
        <a:lstStyle/>
        <a:p>
          <a:endParaRPr lang="es-ES"/>
        </a:p>
      </dgm:t>
    </dgm:pt>
    <dgm:pt modelId="{514CCD24-1E2C-453D-BF22-88DF87AF73A9}" type="pres">
      <dgm:prSet presAssocID="{145DC95C-343A-4833-828F-640ECE557A3C}" presName="childText" presStyleLbl="bgAcc1" presStyleIdx="6" presStyleCnt="14" custLinFactNeighborX="14759" custLinFactNeighborY="-151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C4AE9B6-DFD3-48C1-9A53-5B6F93D311A8}" type="pres">
      <dgm:prSet presAssocID="{DC38496F-F34A-4653-960F-5BF8B21424EF}" presName="Name13" presStyleLbl="parChTrans1D2" presStyleIdx="7" presStyleCnt="14"/>
      <dgm:spPr/>
      <dgm:t>
        <a:bodyPr/>
        <a:lstStyle/>
        <a:p>
          <a:endParaRPr lang="es-ES"/>
        </a:p>
      </dgm:t>
    </dgm:pt>
    <dgm:pt modelId="{B3A7663D-4801-4EEA-BC36-9D7BE3DC1324}" type="pres">
      <dgm:prSet presAssocID="{9A2BBAB2-C159-4901-841E-042B80A8B630}" presName="childText" presStyleLbl="bgAcc1" presStyleIdx="7" presStyleCnt="14" custScaleX="102793" custLinFactNeighborX="1570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53F0568-A673-45CB-95BE-4F77D8A4A58F}" type="pres">
      <dgm:prSet presAssocID="{DCC9AE9E-E07F-4170-A9FA-84A7499D7727}" presName="Name13" presStyleLbl="parChTrans1D2" presStyleIdx="8" presStyleCnt="14"/>
      <dgm:spPr/>
      <dgm:t>
        <a:bodyPr/>
        <a:lstStyle/>
        <a:p>
          <a:endParaRPr lang="es-ES"/>
        </a:p>
      </dgm:t>
    </dgm:pt>
    <dgm:pt modelId="{2BC3C2DE-9EAD-4869-A336-94FDD377E048}" type="pres">
      <dgm:prSet presAssocID="{79272D6E-260D-4233-BB8C-2615A79B2370}" presName="childText" presStyleLbl="bgAcc1" presStyleIdx="8" presStyleCnt="14" custLinFactNeighborX="17602" custLinFactNeighborY="151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AAB32A4-E0E6-4BA2-921B-10C63878908B}" type="pres">
      <dgm:prSet presAssocID="{0584F9A7-3B88-4429-B30D-6B7D69D8BF3E}" presName="Name13" presStyleLbl="parChTrans1D2" presStyleIdx="9" presStyleCnt="14"/>
      <dgm:spPr/>
      <dgm:t>
        <a:bodyPr/>
        <a:lstStyle/>
        <a:p>
          <a:endParaRPr lang="es-ES"/>
        </a:p>
      </dgm:t>
    </dgm:pt>
    <dgm:pt modelId="{DA1E3552-3CB3-4CD8-8A5E-E9128AFBAF32}" type="pres">
      <dgm:prSet presAssocID="{B025C224-6AB6-4DA0-9D7C-A18572E7C3E7}" presName="childText" presStyleLbl="bgAcc1" presStyleIdx="9" presStyleCnt="14" custLinFactNeighborX="18550" custLinFactNeighborY="9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263971E-A094-4BE1-B6FF-B01FD356816F}" type="pres">
      <dgm:prSet presAssocID="{0EF02B3D-83A1-4FFD-9A2F-B47840B73872}" presName="root" presStyleCnt="0"/>
      <dgm:spPr/>
    </dgm:pt>
    <dgm:pt modelId="{99861FEE-40ED-4928-B757-A2A60C7294F7}" type="pres">
      <dgm:prSet presAssocID="{0EF02B3D-83A1-4FFD-9A2F-B47840B73872}" presName="rootComposite" presStyleCnt="0"/>
      <dgm:spPr/>
    </dgm:pt>
    <dgm:pt modelId="{1E16444F-7FBB-4384-AD05-F603ADBD0287}" type="pres">
      <dgm:prSet presAssocID="{0EF02B3D-83A1-4FFD-9A2F-B47840B73872}" presName="rootText" presStyleLbl="node1" presStyleIdx="3" presStyleCnt="4" custScaleX="110714" custScaleY="88120" custLinFactNeighborX="-6117" custLinFactNeighborY="11053"/>
      <dgm:spPr/>
      <dgm:t>
        <a:bodyPr/>
        <a:lstStyle/>
        <a:p>
          <a:endParaRPr lang="es-ES"/>
        </a:p>
      </dgm:t>
    </dgm:pt>
    <dgm:pt modelId="{C6B16B97-322B-4EFB-9025-80A8D081D67C}" type="pres">
      <dgm:prSet presAssocID="{0EF02B3D-83A1-4FFD-9A2F-B47840B73872}" presName="rootConnector" presStyleLbl="node1" presStyleIdx="3" presStyleCnt="4"/>
      <dgm:spPr/>
      <dgm:t>
        <a:bodyPr/>
        <a:lstStyle/>
        <a:p>
          <a:endParaRPr lang="es-ES"/>
        </a:p>
      </dgm:t>
    </dgm:pt>
    <dgm:pt modelId="{694019B7-50B2-4D69-AC56-1900471865C6}" type="pres">
      <dgm:prSet presAssocID="{0EF02B3D-83A1-4FFD-9A2F-B47840B73872}" presName="childShape" presStyleCnt="0"/>
      <dgm:spPr/>
    </dgm:pt>
    <dgm:pt modelId="{3468509C-395C-4CAA-8031-56300B0F5235}" type="pres">
      <dgm:prSet presAssocID="{1E5F0F43-65C0-4966-8B94-68557E8A8FD2}" presName="Name13" presStyleLbl="parChTrans1D2" presStyleIdx="10" presStyleCnt="14"/>
      <dgm:spPr/>
      <dgm:t>
        <a:bodyPr/>
        <a:lstStyle/>
        <a:p>
          <a:endParaRPr lang="es-ES"/>
        </a:p>
      </dgm:t>
    </dgm:pt>
    <dgm:pt modelId="{32CF6715-6666-40F0-95F7-7B160E03C7CC}" type="pres">
      <dgm:prSet presAssocID="{25E13BD1-56C0-42FE-BA2F-BEAAB3C503DF}" presName="childText" presStyleLbl="bgAcc1" presStyleIdx="10" presStyleCnt="14" custLinFactNeighborX="3067" custLinFactNeighborY="-151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6304A66-8EF0-46E0-A0F4-2DF3234AD846}" type="pres">
      <dgm:prSet presAssocID="{08100822-BC5B-4759-A7E9-192366A480EC}" presName="Name13" presStyleLbl="parChTrans1D2" presStyleIdx="11" presStyleCnt="14"/>
      <dgm:spPr/>
      <dgm:t>
        <a:bodyPr/>
        <a:lstStyle/>
        <a:p>
          <a:endParaRPr lang="es-ES"/>
        </a:p>
      </dgm:t>
    </dgm:pt>
    <dgm:pt modelId="{39EB9B09-F3A1-4BBA-BC84-08C74AB13F65}" type="pres">
      <dgm:prSet presAssocID="{0652A6FA-76B7-41E1-B1A3-B5123CD36F17}" presName="childText" presStyleLbl="bgAcc1" presStyleIdx="11" presStyleCnt="14" custScaleX="100063" custScaleY="124846" custLinFactNeighborX="3004" custLinFactNeighborY="87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1A0268F-B372-4F1C-BDD7-D8778538F1BD}" type="pres">
      <dgm:prSet presAssocID="{FDF90672-9DCC-49A1-88EC-47C6EE561620}" presName="Name13" presStyleLbl="parChTrans1D2" presStyleIdx="12" presStyleCnt="14"/>
      <dgm:spPr/>
      <dgm:t>
        <a:bodyPr/>
        <a:lstStyle/>
        <a:p>
          <a:endParaRPr lang="es-ES"/>
        </a:p>
      </dgm:t>
    </dgm:pt>
    <dgm:pt modelId="{6BBB35D1-D584-4E83-ACBD-497A735838F3}" type="pres">
      <dgm:prSet presAssocID="{520B5CD5-F714-4B4A-B448-3DC58E282121}" presName="childText" presStyleLbl="bgAcc1" presStyleIdx="12" presStyleCnt="14" custLinFactNeighborX="3067" custLinFactNeighborY="151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905323C-1E59-4D05-AA1E-B7EE7C23098B}" type="pres">
      <dgm:prSet presAssocID="{F2B45D32-39B9-4690-B88E-99730CFCA1C4}" presName="Name13" presStyleLbl="parChTrans1D2" presStyleIdx="13" presStyleCnt="14"/>
      <dgm:spPr/>
      <dgm:t>
        <a:bodyPr/>
        <a:lstStyle/>
        <a:p>
          <a:endParaRPr lang="es-ES"/>
        </a:p>
      </dgm:t>
    </dgm:pt>
    <dgm:pt modelId="{41871421-70EC-4E35-ACE6-5F0BE47759C5}" type="pres">
      <dgm:prSet presAssocID="{ADD12BED-F60A-4423-9A67-D1C09AA09E3B}" presName="childText" presStyleLbl="bgAcc1" presStyleIdx="13" presStyleCnt="14" custLinFactNeighborX="3067" custLinFactNeighborY="9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8977672D-D4C7-4C53-B7ED-7823D7954898}" type="presOf" srcId="{25E13BD1-56C0-42FE-BA2F-BEAAB3C503DF}" destId="{32CF6715-6666-40F0-95F7-7B160E03C7CC}" srcOrd="0" destOrd="0" presId="urn:microsoft.com/office/officeart/2005/8/layout/hierarchy3"/>
    <dgm:cxn modelId="{0B1179BC-9DA1-421C-95CD-92B000C8C3F4}" type="presOf" srcId="{0B252B1E-5D95-4ADA-85A1-383A472B6801}" destId="{34327BF4-1CE4-4EC1-B596-37CE9AA885DB}" srcOrd="0" destOrd="0" presId="urn:microsoft.com/office/officeart/2005/8/layout/hierarchy3"/>
    <dgm:cxn modelId="{BB081215-FA1A-4D7C-88AA-3D800D80FF0B}" type="presOf" srcId="{08100822-BC5B-4759-A7E9-192366A480EC}" destId="{46304A66-8EF0-46E0-A0F4-2DF3234AD846}" srcOrd="0" destOrd="0" presId="urn:microsoft.com/office/officeart/2005/8/layout/hierarchy3"/>
    <dgm:cxn modelId="{CEFEB98B-2849-4D21-B7E6-02FCDD8AA790}" type="presOf" srcId="{8746147D-8DC9-41D2-AF76-E3393A23BB17}" destId="{4A1F2038-FA57-4AC2-8252-3ACCDA100695}" srcOrd="0" destOrd="0" presId="urn:microsoft.com/office/officeart/2005/8/layout/hierarchy3"/>
    <dgm:cxn modelId="{084421BF-DD3B-4890-9D87-C4E1D7C29747}" srcId="{C1FBEED3-01B1-46F3-B957-C11B257F1AE3}" destId="{F9BDD195-9873-4859-9E5A-366D4086EBC9}" srcOrd="1" destOrd="0" parTransId="{A89CC6C9-14BA-401B-8443-BE2B227722C5}" sibTransId="{99B011BA-4964-47D2-86CE-3546E15448AC}"/>
    <dgm:cxn modelId="{E7306793-30D2-405B-AFAB-6424D25B55E0}" type="presOf" srcId="{C1FBEED3-01B1-46F3-B957-C11B257F1AE3}" destId="{9B7985EC-B0EF-4343-B642-77C28343B400}" srcOrd="0" destOrd="0" presId="urn:microsoft.com/office/officeart/2005/8/layout/hierarchy3"/>
    <dgm:cxn modelId="{CB1F206E-AD83-4FED-9A2A-E19FD1E83D1B}" type="presOf" srcId="{B784CD62-3076-425C-B3D6-396E8EFD4C85}" destId="{84099D88-DA45-493B-BC00-2EF75A9E221B}" srcOrd="0" destOrd="0" presId="urn:microsoft.com/office/officeart/2005/8/layout/hierarchy3"/>
    <dgm:cxn modelId="{EA0149BF-E12D-4B9F-98FA-683D9BEDA336}" type="presOf" srcId="{DC38496F-F34A-4653-960F-5BF8B21424EF}" destId="{AC4AE9B6-DFD3-48C1-9A53-5B6F93D311A8}" srcOrd="0" destOrd="0" presId="urn:microsoft.com/office/officeart/2005/8/layout/hierarchy3"/>
    <dgm:cxn modelId="{52EA1105-0CCB-42CF-997E-6107221893D8}" type="presOf" srcId="{D2883BF8-8F9D-4EA2-8AF4-AD8BBBA155D8}" destId="{A9500BED-E339-42BC-86E0-49507C8F2259}" srcOrd="0" destOrd="0" presId="urn:microsoft.com/office/officeart/2005/8/layout/hierarchy3"/>
    <dgm:cxn modelId="{3BBCF73E-7E5F-4F97-A8E5-EF645B5A97D3}" srcId="{0EF02B3D-83A1-4FFD-9A2F-B47840B73872}" destId="{ADD12BED-F60A-4423-9A67-D1C09AA09E3B}" srcOrd="3" destOrd="0" parTransId="{F2B45D32-39B9-4690-B88E-99730CFCA1C4}" sibTransId="{8B5ACE47-F3AF-4EF9-8217-E9256EF969C5}"/>
    <dgm:cxn modelId="{C8C7D96F-0354-4636-8A02-506F7566CC5F}" type="presOf" srcId="{A3E631B7-9209-4F79-8B7D-78DADD695CB6}" destId="{E0CA4CE8-DF13-4590-987B-E1F14878D0D0}" srcOrd="0" destOrd="0" presId="urn:microsoft.com/office/officeart/2005/8/layout/hierarchy3"/>
    <dgm:cxn modelId="{99DC1F7E-C1AC-40E0-92D6-0FA85CBCEC18}" type="presOf" srcId="{145DC95C-343A-4833-828F-640ECE557A3C}" destId="{514CCD24-1E2C-453D-BF22-88DF87AF73A9}" srcOrd="0" destOrd="0" presId="urn:microsoft.com/office/officeart/2005/8/layout/hierarchy3"/>
    <dgm:cxn modelId="{3032BF7E-E1AB-48F1-9E15-20303050AC7E}" type="presOf" srcId="{B025C224-6AB6-4DA0-9D7C-A18572E7C3E7}" destId="{DA1E3552-3CB3-4CD8-8A5E-E9128AFBAF32}" srcOrd="0" destOrd="0" presId="urn:microsoft.com/office/officeart/2005/8/layout/hierarchy3"/>
    <dgm:cxn modelId="{3E4FD40A-74AF-4305-A963-3D532BB1BDB2}" type="presOf" srcId="{1E5F0F43-65C0-4966-8B94-68557E8A8FD2}" destId="{3468509C-395C-4CAA-8031-56300B0F5235}" srcOrd="0" destOrd="0" presId="urn:microsoft.com/office/officeart/2005/8/layout/hierarchy3"/>
    <dgm:cxn modelId="{208A013F-67CC-45D9-9D7C-BDFF1EF917EC}" type="presOf" srcId="{ADD12BED-F60A-4423-9A67-D1C09AA09E3B}" destId="{41871421-70EC-4E35-ACE6-5F0BE47759C5}" srcOrd="0" destOrd="0" presId="urn:microsoft.com/office/officeart/2005/8/layout/hierarchy3"/>
    <dgm:cxn modelId="{E6512D42-E6E4-4A49-AA36-F146703C69EF}" srcId="{C1FBEED3-01B1-46F3-B957-C11B257F1AE3}" destId="{8746147D-8DC9-41D2-AF76-E3393A23BB17}" srcOrd="2" destOrd="0" parTransId="{9A0210E9-5A8C-4027-B606-6E0EAF96BFF0}" sibTransId="{0699C35D-9DBD-493E-9B35-13B32D239E2E}"/>
    <dgm:cxn modelId="{771048F8-E9C8-47C5-8E0B-30C6C3E97A41}" srcId="{CF0A68FE-74EF-4AA2-9ED9-7B01612DF642}" destId="{2734CC2E-851E-4C8A-AD0D-683909B9569F}" srcOrd="1" destOrd="0" parTransId="{FFDDB0D2-5FB1-48A8-B604-54515B928839}" sibTransId="{F2C0A5FA-0B8C-4D7C-AB9B-CB7F02674230}"/>
    <dgm:cxn modelId="{194D2862-156A-4EBA-ABD7-59B286E46E59}" type="presOf" srcId="{CF0A68FE-74EF-4AA2-9ED9-7B01612DF642}" destId="{2F95051D-7999-4B57-B62B-0A8E93ED2CF3}" srcOrd="1" destOrd="0" presId="urn:microsoft.com/office/officeart/2005/8/layout/hierarchy3"/>
    <dgm:cxn modelId="{4D0B9E23-6C65-4334-B43C-6F30BA97B691}" type="presOf" srcId="{F2B45D32-39B9-4690-B88E-99730CFCA1C4}" destId="{9905323C-1E59-4D05-AA1E-B7EE7C23098B}" srcOrd="0" destOrd="0" presId="urn:microsoft.com/office/officeart/2005/8/layout/hierarchy3"/>
    <dgm:cxn modelId="{13F4644E-10ED-4805-B888-2D390D2C9B73}" type="presOf" srcId="{79272D6E-260D-4233-BB8C-2615A79B2370}" destId="{2BC3C2DE-9EAD-4869-A336-94FDD377E048}" srcOrd="0" destOrd="0" presId="urn:microsoft.com/office/officeart/2005/8/layout/hierarchy3"/>
    <dgm:cxn modelId="{9488A6F3-A97B-4440-8CCF-1D1C8498DB65}" srcId="{CF0A68FE-74EF-4AA2-9ED9-7B01612DF642}" destId="{F9B2E840-DE88-441B-8F8F-A2DE66ED0633}" srcOrd="2" destOrd="0" parTransId="{9521B682-538C-4B7C-8D37-8F635E3CEDCF}" sibTransId="{C0B8BDFE-6B71-412F-87BA-AE560DB88854}"/>
    <dgm:cxn modelId="{6E02D67F-096F-4FBD-9ADD-F1F4D7C35A0A}" type="presOf" srcId="{9A2BBAB2-C159-4901-841E-042B80A8B630}" destId="{B3A7663D-4801-4EEA-BC36-9D7BE3DC1324}" srcOrd="0" destOrd="0" presId="urn:microsoft.com/office/officeart/2005/8/layout/hierarchy3"/>
    <dgm:cxn modelId="{3CE52423-5F6A-434C-B3E9-4EAA4AF11234}" type="presOf" srcId="{FDF90672-9DCC-49A1-88EC-47C6EE561620}" destId="{21A0268F-B372-4F1C-BDD7-D8778538F1BD}" srcOrd="0" destOrd="0" presId="urn:microsoft.com/office/officeart/2005/8/layout/hierarchy3"/>
    <dgm:cxn modelId="{D3AF7A4D-D5F4-47D8-89C8-5158F758A0B5}" srcId="{0EF02B3D-83A1-4FFD-9A2F-B47840B73872}" destId="{25E13BD1-56C0-42FE-BA2F-BEAAB3C503DF}" srcOrd="0" destOrd="0" parTransId="{1E5F0F43-65C0-4966-8B94-68557E8A8FD2}" sibTransId="{7A023CD7-1392-47DC-8282-82672F3B8E94}"/>
    <dgm:cxn modelId="{026AB6B2-867A-4426-8B16-7BC073E86889}" type="presOf" srcId="{520B5CD5-F714-4B4A-B448-3DC58E282121}" destId="{6BBB35D1-D584-4E83-ACBD-497A735838F3}" srcOrd="0" destOrd="0" presId="urn:microsoft.com/office/officeart/2005/8/layout/hierarchy3"/>
    <dgm:cxn modelId="{A44D347E-C33C-45C1-B6D0-957F6A080E33}" type="presOf" srcId="{9521B682-538C-4B7C-8D37-8F635E3CEDCF}" destId="{2090B7D8-B3E0-4B2F-AFC1-6E82D4E32AFB}" srcOrd="0" destOrd="0" presId="urn:microsoft.com/office/officeart/2005/8/layout/hierarchy3"/>
    <dgm:cxn modelId="{B26BC062-8BF4-4370-8611-8B5A4506ABD2}" type="presOf" srcId="{CF0A68FE-74EF-4AA2-9ED9-7B01612DF642}" destId="{7A36CD1C-4CDD-455D-9997-CCE8CF7F334A}" srcOrd="0" destOrd="0" presId="urn:microsoft.com/office/officeart/2005/8/layout/hierarchy3"/>
    <dgm:cxn modelId="{5E86D010-5A1C-49FC-8919-E63C3A0F4C8E}" srcId="{F9BDD195-9873-4859-9E5A-366D4086EBC9}" destId="{D2883BF8-8F9D-4EA2-8AF4-AD8BBBA155D8}" srcOrd="2" destOrd="0" parTransId="{0076D393-258B-411F-9E1B-45EEB92551EE}" sibTransId="{091B76C2-98AD-4FDC-9433-2E707496C7E7}"/>
    <dgm:cxn modelId="{9E90FAA3-508C-4730-99DB-54D644437BB6}" srcId="{0EF02B3D-83A1-4FFD-9A2F-B47840B73872}" destId="{0652A6FA-76B7-41E1-B1A3-B5123CD36F17}" srcOrd="1" destOrd="0" parTransId="{08100822-BC5B-4759-A7E9-192366A480EC}" sibTransId="{6EFF2A5B-9495-4B97-B181-9FFD9E1CE878}"/>
    <dgm:cxn modelId="{A0992136-E705-48C0-840D-27FD58FB9299}" srcId="{8746147D-8DC9-41D2-AF76-E3393A23BB17}" destId="{B025C224-6AB6-4DA0-9D7C-A18572E7C3E7}" srcOrd="3" destOrd="0" parTransId="{0584F9A7-3B88-4429-B30D-6B7D69D8BF3E}" sibTransId="{3520BF3D-E159-4622-8A4E-105E1C511458}"/>
    <dgm:cxn modelId="{0A12BBFE-F5D5-4986-A6D1-F2441BECC337}" type="presOf" srcId="{0EF02B3D-83A1-4FFD-9A2F-B47840B73872}" destId="{1E16444F-7FBB-4384-AD05-F603ADBD0287}" srcOrd="0" destOrd="0" presId="urn:microsoft.com/office/officeart/2005/8/layout/hierarchy3"/>
    <dgm:cxn modelId="{EC157DF8-E89D-4A45-9278-06DB2F1450CA}" type="presOf" srcId="{F9B2E840-DE88-441B-8F8F-A2DE66ED0633}" destId="{52FB85B1-0560-4612-929C-E666117661C5}" srcOrd="0" destOrd="0" presId="urn:microsoft.com/office/officeart/2005/8/layout/hierarchy3"/>
    <dgm:cxn modelId="{5BF398A0-058D-45EC-9DA7-A3E480D3AB2A}" type="presOf" srcId="{2734CC2E-851E-4C8A-AD0D-683909B9569F}" destId="{C498833A-40BB-462F-8173-10509195D56C}" srcOrd="0" destOrd="0" presId="urn:microsoft.com/office/officeart/2005/8/layout/hierarchy3"/>
    <dgm:cxn modelId="{8AB68A93-B2B5-4DCA-A0F0-18BB97028613}" type="presOf" srcId="{1DCA5167-A940-4F7B-9438-7F81018BACA0}" destId="{80AEAD2E-F332-49ED-B347-BB757F2051EC}" srcOrd="0" destOrd="0" presId="urn:microsoft.com/office/officeart/2005/8/layout/hierarchy3"/>
    <dgm:cxn modelId="{C75D838A-86D1-4B65-8930-1949EE676174}" srcId="{0EF02B3D-83A1-4FFD-9A2F-B47840B73872}" destId="{520B5CD5-F714-4B4A-B448-3DC58E282121}" srcOrd="2" destOrd="0" parTransId="{FDF90672-9DCC-49A1-88EC-47C6EE561620}" sibTransId="{D233F710-192A-459E-BA1E-4B4627B47C7D}"/>
    <dgm:cxn modelId="{A144311C-97BA-4D66-AB77-A3C1B7F4B5C4}" type="presOf" srcId="{F9BDD195-9873-4859-9E5A-366D4086EBC9}" destId="{153432B2-7305-4E7F-98B3-29ECE0996D08}" srcOrd="1" destOrd="0" presId="urn:microsoft.com/office/officeart/2005/8/layout/hierarchy3"/>
    <dgm:cxn modelId="{62AA0487-2D89-4D4B-A50C-5AB9CC779B4D}" type="presOf" srcId="{DCC9AE9E-E07F-4170-A9FA-84A7499D7727}" destId="{553F0568-A673-45CB-95BE-4F77D8A4A58F}" srcOrd="0" destOrd="0" presId="urn:microsoft.com/office/officeart/2005/8/layout/hierarchy3"/>
    <dgm:cxn modelId="{8E495BEA-8F07-406D-9AF3-1636B8E20C82}" type="presOf" srcId="{19776E37-EBC8-420B-8C42-4ADFECCD7262}" destId="{425CC0D6-A987-4F3E-A514-4EB36E1C05A6}" srcOrd="0" destOrd="0" presId="urn:microsoft.com/office/officeart/2005/8/layout/hierarchy3"/>
    <dgm:cxn modelId="{D5888B3A-E099-4579-B4A9-F84FCE1EF33D}" type="presOf" srcId="{0076D393-258B-411F-9E1B-45EEB92551EE}" destId="{ED8356AA-4FF3-4C94-86D4-33D7492D9366}" srcOrd="0" destOrd="0" presId="urn:microsoft.com/office/officeart/2005/8/layout/hierarchy3"/>
    <dgm:cxn modelId="{8879D102-A6D4-4E74-A1A5-52BEE2B885FA}" srcId="{C1FBEED3-01B1-46F3-B957-C11B257F1AE3}" destId="{CF0A68FE-74EF-4AA2-9ED9-7B01612DF642}" srcOrd="0" destOrd="0" parTransId="{E64A07B7-C90A-445E-93B5-B45E2BB98F9F}" sibTransId="{5AEAF890-6343-43D3-833D-446C267EA1E1}"/>
    <dgm:cxn modelId="{2FCEB088-16D6-47CC-8CDA-D10E0FE24B49}" srcId="{8746147D-8DC9-41D2-AF76-E3393A23BB17}" destId="{79272D6E-260D-4233-BB8C-2615A79B2370}" srcOrd="2" destOrd="0" parTransId="{DCC9AE9E-E07F-4170-A9FA-84A7499D7727}" sibTransId="{071D1648-D77A-43D6-BA13-C7FC8C12C3C7}"/>
    <dgm:cxn modelId="{A15A636A-D352-4DCF-BA62-3F9090E6744D}" srcId="{C1FBEED3-01B1-46F3-B957-C11B257F1AE3}" destId="{0EF02B3D-83A1-4FFD-9A2F-B47840B73872}" srcOrd="3" destOrd="0" parTransId="{4850EE69-15BE-4D5B-80D3-CC9D2E4DD202}" sibTransId="{811107CF-E72B-46D2-A73C-4BF41D68B7EB}"/>
    <dgm:cxn modelId="{2B017049-8ADD-45A9-9B7E-A0C9C69BEB8B}" type="presOf" srcId="{8746147D-8DC9-41D2-AF76-E3393A23BB17}" destId="{4A494DA0-FA72-44E1-902B-A8B74A7AFC5A}" srcOrd="1" destOrd="0" presId="urn:microsoft.com/office/officeart/2005/8/layout/hierarchy3"/>
    <dgm:cxn modelId="{AB62E428-39A2-46A4-99FA-8D40829DEA56}" srcId="{F9BDD195-9873-4859-9E5A-366D4086EBC9}" destId="{F37EA4B3-B179-4A1E-8903-25972DA5E959}" srcOrd="1" destOrd="0" parTransId="{0B252B1E-5D95-4ADA-85A1-383A472B6801}" sibTransId="{2D63E125-422D-4331-9961-069DD95A0569}"/>
    <dgm:cxn modelId="{D6EA330C-0FB0-4C7F-9733-5D35EC6E5843}" type="presOf" srcId="{FFDDB0D2-5FB1-48A8-B604-54515B928839}" destId="{7EDB7E69-381A-499F-BF32-533698ED6D9E}" srcOrd="0" destOrd="0" presId="urn:microsoft.com/office/officeart/2005/8/layout/hierarchy3"/>
    <dgm:cxn modelId="{1CC3F0FF-A4AB-44FE-BCC6-DC850EAA490B}" type="presOf" srcId="{0EF02B3D-83A1-4FFD-9A2F-B47840B73872}" destId="{C6B16B97-322B-4EFB-9025-80A8D081D67C}" srcOrd="1" destOrd="0" presId="urn:microsoft.com/office/officeart/2005/8/layout/hierarchy3"/>
    <dgm:cxn modelId="{594C592D-E613-40FC-A690-DF62E0FBC905}" srcId="{8746147D-8DC9-41D2-AF76-E3393A23BB17}" destId="{9A2BBAB2-C159-4901-841E-042B80A8B630}" srcOrd="1" destOrd="0" parTransId="{DC38496F-F34A-4653-960F-5BF8B21424EF}" sibTransId="{68EB307C-59AE-429F-9E36-04ACDA9A891E}"/>
    <dgm:cxn modelId="{0BD60C49-696D-4DD2-8E01-FE8A12F4326A}" type="presOf" srcId="{F9BDD195-9873-4859-9E5A-366D4086EBC9}" destId="{7B33427B-A5D7-45FA-9C9F-3604B9916F97}" srcOrd="0" destOrd="0" presId="urn:microsoft.com/office/officeart/2005/8/layout/hierarchy3"/>
    <dgm:cxn modelId="{77E5B836-E302-4B03-8D9D-321D20563789}" srcId="{CF0A68FE-74EF-4AA2-9ED9-7B01612DF642}" destId="{19776E37-EBC8-420B-8C42-4ADFECCD7262}" srcOrd="0" destOrd="0" parTransId="{A3E631B7-9209-4F79-8B7D-78DADD695CB6}" sibTransId="{1DFC8BA7-96D2-4B91-8AF1-67D585923E62}"/>
    <dgm:cxn modelId="{C0E3A0CB-9180-4709-9059-763212A3E9A9}" type="presOf" srcId="{0584F9A7-3B88-4429-B30D-6B7D69D8BF3E}" destId="{EAAB32A4-E0E6-4BA2-921B-10C63878908B}" srcOrd="0" destOrd="0" presId="urn:microsoft.com/office/officeart/2005/8/layout/hierarchy3"/>
    <dgm:cxn modelId="{59341204-84A7-49A8-B95D-4B6AAB2309D6}" srcId="{F9BDD195-9873-4859-9E5A-366D4086EBC9}" destId="{06866570-9937-4602-80F8-51DB56C03E75}" srcOrd="0" destOrd="0" parTransId="{B784CD62-3076-425C-B3D6-396E8EFD4C85}" sibTransId="{9AEED5E1-2059-4EC2-ABAD-2BA2880E5ED4}"/>
    <dgm:cxn modelId="{A471BC58-013B-4DA0-AFF6-D8784BCDD3E2}" srcId="{8746147D-8DC9-41D2-AF76-E3393A23BB17}" destId="{145DC95C-343A-4833-828F-640ECE557A3C}" srcOrd="0" destOrd="0" parTransId="{1DCA5167-A940-4F7B-9438-7F81018BACA0}" sibTransId="{08A4C67C-F3AE-41D6-BE38-3A89DDEFAEBD}"/>
    <dgm:cxn modelId="{E72B4213-5846-4969-ACC2-0FC201FA4566}" type="presOf" srcId="{0652A6FA-76B7-41E1-B1A3-B5123CD36F17}" destId="{39EB9B09-F3A1-4BBA-BC84-08C74AB13F65}" srcOrd="0" destOrd="0" presId="urn:microsoft.com/office/officeart/2005/8/layout/hierarchy3"/>
    <dgm:cxn modelId="{ADC6D355-F770-4D2A-824F-014657A94E4C}" type="presOf" srcId="{F37EA4B3-B179-4A1E-8903-25972DA5E959}" destId="{33080A38-A292-49F0-8CAD-FD2C02E715E4}" srcOrd="0" destOrd="0" presId="urn:microsoft.com/office/officeart/2005/8/layout/hierarchy3"/>
    <dgm:cxn modelId="{E8F6AF90-5DA8-474E-A160-51A8198C96DB}" type="presOf" srcId="{06866570-9937-4602-80F8-51DB56C03E75}" destId="{1D40BAC0-730F-468C-A268-4CE337B40F55}" srcOrd="0" destOrd="0" presId="urn:microsoft.com/office/officeart/2005/8/layout/hierarchy3"/>
    <dgm:cxn modelId="{0C70EFBF-9573-41BE-AD10-34E250B8FE5D}" type="presParOf" srcId="{9B7985EC-B0EF-4343-B642-77C28343B400}" destId="{E0EA4377-9324-445C-BE79-82DCA49297B7}" srcOrd="0" destOrd="0" presId="urn:microsoft.com/office/officeart/2005/8/layout/hierarchy3"/>
    <dgm:cxn modelId="{ACE835E5-2F53-425B-B255-864C8DF741BA}" type="presParOf" srcId="{E0EA4377-9324-445C-BE79-82DCA49297B7}" destId="{B65F52D6-B171-48CC-A37C-D69CDDA68680}" srcOrd="0" destOrd="0" presId="urn:microsoft.com/office/officeart/2005/8/layout/hierarchy3"/>
    <dgm:cxn modelId="{A33953A2-6C8B-4F59-BD7E-EAE9E3213E72}" type="presParOf" srcId="{B65F52D6-B171-48CC-A37C-D69CDDA68680}" destId="{7A36CD1C-4CDD-455D-9997-CCE8CF7F334A}" srcOrd="0" destOrd="0" presId="urn:microsoft.com/office/officeart/2005/8/layout/hierarchy3"/>
    <dgm:cxn modelId="{03ACE68B-31D4-4F4E-B6C5-3B506DCD2F2A}" type="presParOf" srcId="{B65F52D6-B171-48CC-A37C-D69CDDA68680}" destId="{2F95051D-7999-4B57-B62B-0A8E93ED2CF3}" srcOrd="1" destOrd="0" presId="urn:microsoft.com/office/officeart/2005/8/layout/hierarchy3"/>
    <dgm:cxn modelId="{A6F499B2-02F0-4B07-9BEC-30779B4B07E3}" type="presParOf" srcId="{E0EA4377-9324-445C-BE79-82DCA49297B7}" destId="{90052C28-923F-4976-8A30-1CBD34BA8232}" srcOrd="1" destOrd="0" presId="urn:microsoft.com/office/officeart/2005/8/layout/hierarchy3"/>
    <dgm:cxn modelId="{F5BD03E9-7EE5-4535-B182-5D33D74254B8}" type="presParOf" srcId="{90052C28-923F-4976-8A30-1CBD34BA8232}" destId="{E0CA4CE8-DF13-4590-987B-E1F14878D0D0}" srcOrd="0" destOrd="0" presId="urn:microsoft.com/office/officeart/2005/8/layout/hierarchy3"/>
    <dgm:cxn modelId="{79E69017-023E-472A-BF2A-7C69B5D19DD4}" type="presParOf" srcId="{90052C28-923F-4976-8A30-1CBD34BA8232}" destId="{425CC0D6-A987-4F3E-A514-4EB36E1C05A6}" srcOrd="1" destOrd="0" presId="urn:microsoft.com/office/officeart/2005/8/layout/hierarchy3"/>
    <dgm:cxn modelId="{CB7E9E8D-3321-4113-9E5D-C75F2359B7F9}" type="presParOf" srcId="{90052C28-923F-4976-8A30-1CBD34BA8232}" destId="{7EDB7E69-381A-499F-BF32-533698ED6D9E}" srcOrd="2" destOrd="0" presId="urn:microsoft.com/office/officeart/2005/8/layout/hierarchy3"/>
    <dgm:cxn modelId="{EE5300F4-1BDF-4E68-822E-6DD9788F9937}" type="presParOf" srcId="{90052C28-923F-4976-8A30-1CBD34BA8232}" destId="{C498833A-40BB-462F-8173-10509195D56C}" srcOrd="3" destOrd="0" presId="urn:microsoft.com/office/officeart/2005/8/layout/hierarchy3"/>
    <dgm:cxn modelId="{0C9B011D-A094-424C-8B00-2F5713B7A02B}" type="presParOf" srcId="{90052C28-923F-4976-8A30-1CBD34BA8232}" destId="{2090B7D8-B3E0-4B2F-AFC1-6E82D4E32AFB}" srcOrd="4" destOrd="0" presId="urn:microsoft.com/office/officeart/2005/8/layout/hierarchy3"/>
    <dgm:cxn modelId="{2B495A6A-A81F-41D3-B110-46F9F4244C87}" type="presParOf" srcId="{90052C28-923F-4976-8A30-1CBD34BA8232}" destId="{52FB85B1-0560-4612-929C-E666117661C5}" srcOrd="5" destOrd="0" presId="urn:microsoft.com/office/officeart/2005/8/layout/hierarchy3"/>
    <dgm:cxn modelId="{1D7794DC-C1E2-48EF-8FD1-032D7865F718}" type="presParOf" srcId="{9B7985EC-B0EF-4343-B642-77C28343B400}" destId="{98A096D9-1EFA-44CE-ABCA-781100FE0571}" srcOrd="1" destOrd="0" presId="urn:microsoft.com/office/officeart/2005/8/layout/hierarchy3"/>
    <dgm:cxn modelId="{66BB1FFB-C76E-4D81-8C14-9B8454F875A6}" type="presParOf" srcId="{98A096D9-1EFA-44CE-ABCA-781100FE0571}" destId="{C19C8F78-A25C-447B-AB15-580F4CDF29EF}" srcOrd="0" destOrd="0" presId="urn:microsoft.com/office/officeart/2005/8/layout/hierarchy3"/>
    <dgm:cxn modelId="{29C58EA3-C05A-4624-A0C4-BB4B18983B79}" type="presParOf" srcId="{C19C8F78-A25C-447B-AB15-580F4CDF29EF}" destId="{7B33427B-A5D7-45FA-9C9F-3604B9916F97}" srcOrd="0" destOrd="0" presId="urn:microsoft.com/office/officeart/2005/8/layout/hierarchy3"/>
    <dgm:cxn modelId="{89D4B2D0-FB60-42D5-BBF3-FEB739936405}" type="presParOf" srcId="{C19C8F78-A25C-447B-AB15-580F4CDF29EF}" destId="{153432B2-7305-4E7F-98B3-29ECE0996D08}" srcOrd="1" destOrd="0" presId="urn:microsoft.com/office/officeart/2005/8/layout/hierarchy3"/>
    <dgm:cxn modelId="{3E2FCE03-92DD-45D5-A3CD-5350058DC223}" type="presParOf" srcId="{98A096D9-1EFA-44CE-ABCA-781100FE0571}" destId="{8D01CE45-FB71-4B2F-8080-03B1F5F4DEB5}" srcOrd="1" destOrd="0" presId="urn:microsoft.com/office/officeart/2005/8/layout/hierarchy3"/>
    <dgm:cxn modelId="{7CBD6718-1FE7-41CE-A369-37EF080E2E84}" type="presParOf" srcId="{8D01CE45-FB71-4B2F-8080-03B1F5F4DEB5}" destId="{84099D88-DA45-493B-BC00-2EF75A9E221B}" srcOrd="0" destOrd="0" presId="urn:microsoft.com/office/officeart/2005/8/layout/hierarchy3"/>
    <dgm:cxn modelId="{24F787EE-E571-49DE-91BC-E8EDFF219B79}" type="presParOf" srcId="{8D01CE45-FB71-4B2F-8080-03B1F5F4DEB5}" destId="{1D40BAC0-730F-468C-A268-4CE337B40F55}" srcOrd="1" destOrd="0" presId="urn:microsoft.com/office/officeart/2005/8/layout/hierarchy3"/>
    <dgm:cxn modelId="{6D9FADDD-1913-4112-B58C-32FF23FFC92B}" type="presParOf" srcId="{8D01CE45-FB71-4B2F-8080-03B1F5F4DEB5}" destId="{34327BF4-1CE4-4EC1-B596-37CE9AA885DB}" srcOrd="2" destOrd="0" presId="urn:microsoft.com/office/officeart/2005/8/layout/hierarchy3"/>
    <dgm:cxn modelId="{6E5D086C-D5FE-4AF7-857F-FA8647C6F78D}" type="presParOf" srcId="{8D01CE45-FB71-4B2F-8080-03B1F5F4DEB5}" destId="{33080A38-A292-49F0-8CAD-FD2C02E715E4}" srcOrd="3" destOrd="0" presId="urn:microsoft.com/office/officeart/2005/8/layout/hierarchy3"/>
    <dgm:cxn modelId="{58D863D7-A5B6-4C24-8D96-5085529C7FF8}" type="presParOf" srcId="{8D01CE45-FB71-4B2F-8080-03B1F5F4DEB5}" destId="{ED8356AA-4FF3-4C94-86D4-33D7492D9366}" srcOrd="4" destOrd="0" presId="urn:microsoft.com/office/officeart/2005/8/layout/hierarchy3"/>
    <dgm:cxn modelId="{C94180D2-80A7-4088-A770-D9ECDBC7478C}" type="presParOf" srcId="{8D01CE45-FB71-4B2F-8080-03B1F5F4DEB5}" destId="{A9500BED-E339-42BC-86E0-49507C8F2259}" srcOrd="5" destOrd="0" presId="urn:microsoft.com/office/officeart/2005/8/layout/hierarchy3"/>
    <dgm:cxn modelId="{9DC4A795-D9A9-4EE3-B619-C85CA1EB4E29}" type="presParOf" srcId="{9B7985EC-B0EF-4343-B642-77C28343B400}" destId="{B5D23DC3-E02C-43C3-AF6A-33F3523254CB}" srcOrd="2" destOrd="0" presId="urn:microsoft.com/office/officeart/2005/8/layout/hierarchy3"/>
    <dgm:cxn modelId="{C4AEAED7-3407-496E-958C-A096F831148D}" type="presParOf" srcId="{B5D23DC3-E02C-43C3-AF6A-33F3523254CB}" destId="{4C2EB443-896C-4637-8823-9D5A5242112F}" srcOrd="0" destOrd="0" presId="urn:microsoft.com/office/officeart/2005/8/layout/hierarchy3"/>
    <dgm:cxn modelId="{C9A1CEEF-8199-4415-9364-403D4398BCF1}" type="presParOf" srcId="{4C2EB443-896C-4637-8823-9D5A5242112F}" destId="{4A1F2038-FA57-4AC2-8252-3ACCDA100695}" srcOrd="0" destOrd="0" presId="urn:microsoft.com/office/officeart/2005/8/layout/hierarchy3"/>
    <dgm:cxn modelId="{CB0C7CB3-CB37-44ED-9C3B-1429E166DF2D}" type="presParOf" srcId="{4C2EB443-896C-4637-8823-9D5A5242112F}" destId="{4A494DA0-FA72-44E1-902B-A8B74A7AFC5A}" srcOrd="1" destOrd="0" presId="urn:microsoft.com/office/officeart/2005/8/layout/hierarchy3"/>
    <dgm:cxn modelId="{7D15D0E8-ED5B-485D-B526-EBC74BEFC5F9}" type="presParOf" srcId="{B5D23DC3-E02C-43C3-AF6A-33F3523254CB}" destId="{B1CED59B-0E8C-4780-AF03-6A8D8134D1DC}" srcOrd="1" destOrd="0" presId="urn:microsoft.com/office/officeart/2005/8/layout/hierarchy3"/>
    <dgm:cxn modelId="{76C40AD9-A901-458F-853C-8FA5CD305F3E}" type="presParOf" srcId="{B1CED59B-0E8C-4780-AF03-6A8D8134D1DC}" destId="{80AEAD2E-F332-49ED-B347-BB757F2051EC}" srcOrd="0" destOrd="0" presId="urn:microsoft.com/office/officeart/2005/8/layout/hierarchy3"/>
    <dgm:cxn modelId="{0B32C2A5-5B97-4939-81AE-890C417A79A4}" type="presParOf" srcId="{B1CED59B-0E8C-4780-AF03-6A8D8134D1DC}" destId="{514CCD24-1E2C-453D-BF22-88DF87AF73A9}" srcOrd="1" destOrd="0" presId="urn:microsoft.com/office/officeart/2005/8/layout/hierarchy3"/>
    <dgm:cxn modelId="{34BE6ECE-64FA-414E-B151-539CD11B606E}" type="presParOf" srcId="{B1CED59B-0E8C-4780-AF03-6A8D8134D1DC}" destId="{AC4AE9B6-DFD3-48C1-9A53-5B6F93D311A8}" srcOrd="2" destOrd="0" presId="urn:microsoft.com/office/officeart/2005/8/layout/hierarchy3"/>
    <dgm:cxn modelId="{F3E8BA79-D68C-4448-AB6E-0144CAE6AA06}" type="presParOf" srcId="{B1CED59B-0E8C-4780-AF03-6A8D8134D1DC}" destId="{B3A7663D-4801-4EEA-BC36-9D7BE3DC1324}" srcOrd="3" destOrd="0" presId="urn:microsoft.com/office/officeart/2005/8/layout/hierarchy3"/>
    <dgm:cxn modelId="{810E8610-6DC4-47BE-BDA3-0CF3252B4543}" type="presParOf" srcId="{B1CED59B-0E8C-4780-AF03-6A8D8134D1DC}" destId="{553F0568-A673-45CB-95BE-4F77D8A4A58F}" srcOrd="4" destOrd="0" presId="urn:microsoft.com/office/officeart/2005/8/layout/hierarchy3"/>
    <dgm:cxn modelId="{E2CC799A-31B0-4840-B216-26456BBE377D}" type="presParOf" srcId="{B1CED59B-0E8C-4780-AF03-6A8D8134D1DC}" destId="{2BC3C2DE-9EAD-4869-A336-94FDD377E048}" srcOrd="5" destOrd="0" presId="urn:microsoft.com/office/officeart/2005/8/layout/hierarchy3"/>
    <dgm:cxn modelId="{7CD7047C-EDB4-4548-8FB4-A9175B7E6650}" type="presParOf" srcId="{B1CED59B-0E8C-4780-AF03-6A8D8134D1DC}" destId="{EAAB32A4-E0E6-4BA2-921B-10C63878908B}" srcOrd="6" destOrd="0" presId="urn:microsoft.com/office/officeart/2005/8/layout/hierarchy3"/>
    <dgm:cxn modelId="{7BD17491-387F-462C-8B3D-0225A13F1BF3}" type="presParOf" srcId="{B1CED59B-0E8C-4780-AF03-6A8D8134D1DC}" destId="{DA1E3552-3CB3-4CD8-8A5E-E9128AFBAF32}" srcOrd="7" destOrd="0" presId="urn:microsoft.com/office/officeart/2005/8/layout/hierarchy3"/>
    <dgm:cxn modelId="{3398D4DC-31B1-4A5C-BA08-0E58530AF823}" type="presParOf" srcId="{9B7985EC-B0EF-4343-B642-77C28343B400}" destId="{F263971E-A094-4BE1-B6FF-B01FD356816F}" srcOrd="3" destOrd="0" presId="urn:microsoft.com/office/officeart/2005/8/layout/hierarchy3"/>
    <dgm:cxn modelId="{7410F043-7B68-4675-A731-5083BE0A6DB8}" type="presParOf" srcId="{F263971E-A094-4BE1-B6FF-B01FD356816F}" destId="{99861FEE-40ED-4928-B757-A2A60C7294F7}" srcOrd="0" destOrd="0" presId="urn:microsoft.com/office/officeart/2005/8/layout/hierarchy3"/>
    <dgm:cxn modelId="{AA2B0627-F930-4F40-892D-3B408B820683}" type="presParOf" srcId="{99861FEE-40ED-4928-B757-A2A60C7294F7}" destId="{1E16444F-7FBB-4384-AD05-F603ADBD0287}" srcOrd="0" destOrd="0" presId="urn:microsoft.com/office/officeart/2005/8/layout/hierarchy3"/>
    <dgm:cxn modelId="{1B0D5A6B-ABAA-4146-8EA9-DAD12555CC84}" type="presParOf" srcId="{99861FEE-40ED-4928-B757-A2A60C7294F7}" destId="{C6B16B97-322B-4EFB-9025-80A8D081D67C}" srcOrd="1" destOrd="0" presId="urn:microsoft.com/office/officeart/2005/8/layout/hierarchy3"/>
    <dgm:cxn modelId="{40C3D2A8-7316-4F52-868C-97F638198341}" type="presParOf" srcId="{F263971E-A094-4BE1-B6FF-B01FD356816F}" destId="{694019B7-50B2-4D69-AC56-1900471865C6}" srcOrd="1" destOrd="0" presId="urn:microsoft.com/office/officeart/2005/8/layout/hierarchy3"/>
    <dgm:cxn modelId="{07BF909A-853F-4519-BDDC-1B9979A7D6DE}" type="presParOf" srcId="{694019B7-50B2-4D69-AC56-1900471865C6}" destId="{3468509C-395C-4CAA-8031-56300B0F5235}" srcOrd="0" destOrd="0" presId="urn:microsoft.com/office/officeart/2005/8/layout/hierarchy3"/>
    <dgm:cxn modelId="{1CDD931D-7C72-49EC-AFCD-25C59C6FCBCF}" type="presParOf" srcId="{694019B7-50B2-4D69-AC56-1900471865C6}" destId="{32CF6715-6666-40F0-95F7-7B160E03C7CC}" srcOrd="1" destOrd="0" presId="urn:microsoft.com/office/officeart/2005/8/layout/hierarchy3"/>
    <dgm:cxn modelId="{2398BF00-9236-4072-8437-2E1811FAE733}" type="presParOf" srcId="{694019B7-50B2-4D69-AC56-1900471865C6}" destId="{46304A66-8EF0-46E0-A0F4-2DF3234AD846}" srcOrd="2" destOrd="0" presId="urn:microsoft.com/office/officeart/2005/8/layout/hierarchy3"/>
    <dgm:cxn modelId="{2E26C58D-604E-45DA-8D17-9BDC7AA28E01}" type="presParOf" srcId="{694019B7-50B2-4D69-AC56-1900471865C6}" destId="{39EB9B09-F3A1-4BBA-BC84-08C74AB13F65}" srcOrd="3" destOrd="0" presId="urn:microsoft.com/office/officeart/2005/8/layout/hierarchy3"/>
    <dgm:cxn modelId="{381E55AB-E333-4366-B5FB-AE3B4E7A1E8A}" type="presParOf" srcId="{694019B7-50B2-4D69-AC56-1900471865C6}" destId="{21A0268F-B372-4F1C-BDD7-D8778538F1BD}" srcOrd="4" destOrd="0" presId="urn:microsoft.com/office/officeart/2005/8/layout/hierarchy3"/>
    <dgm:cxn modelId="{E2A8D737-37A9-4707-9EB2-240B97CB842E}" type="presParOf" srcId="{694019B7-50B2-4D69-AC56-1900471865C6}" destId="{6BBB35D1-D584-4E83-ACBD-497A735838F3}" srcOrd="5" destOrd="0" presId="urn:microsoft.com/office/officeart/2005/8/layout/hierarchy3"/>
    <dgm:cxn modelId="{3F18C66A-90D8-494C-A6F4-5961AE0DAEE2}" type="presParOf" srcId="{694019B7-50B2-4D69-AC56-1900471865C6}" destId="{9905323C-1E59-4D05-AA1E-B7EE7C23098B}" srcOrd="6" destOrd="0" presId="urn:microsoft.com/office/officeart/2005/8/layout/hierarchy3"/>
    <dgm:cxn modelId="{C17C5479-D730-4445-A1C0-9A362BEB77A4}" type="presParOf" srcId="{694019B7-50B2-4D69-AC56-1900471865C6}" destId="{41871421-70EC-4E35-ACE6-5F0BE47759C5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1FBEED3-01B1-46F3-B957-C11B257F1AE3}" type="doc">
      <dgm:prSet loTypeId="urn:microsoft.com/office/officeart/2005/8/layout/hierarchy3" loCatId="hierarchy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CF0A68FE-74EF-4AA2-9ED9-7B01612DF642}">
      <dgm:prSet phldrT="[Texto]" custT="1"/>
      <dgm:spPr>
        <a:solidFill>
          <a:srgbClr val="009999"/>
        </a:solidFill>
      </dgm:spPr>
      <dgm:t>
        <a:bodyPr/>
        <a:lstStyle/>
        <a:p>
          <a:r>
            <a:rPr lang="es-CL" sz="2000" dirty="0"/>
            <a:t>SUMARIO SANITARIO</a:t>
          </a:r>
        </a:p>
      </dgm:t>
    </dgm:pt>
    <dgm:pt modelId="{E64A07B7-C90A-445E-93B5-B45E2BB98F9F}" type="parTrans" cxnId="{8879D102-A6D4-4E74-A1A5-52BEE2B885FA}">
      <dgm:prSet/>
      <dgm:spPr/>
      <dgm:t>
        <a:bodyPr/>
        <a:lstStyle/>
        <a:p>
          <a:endParaRPr lang="es-CL"/>
        </a:p>
      </dgm:t>
    </dgm:pt>
    <dgm:pt modelId="{5AEAF890-6343-43D3-833D-446C267EA1E1}" type="sibTrans" cxnId="{8879D102-A6D4-4E74-A1A5-52BEE2B885FA}">
      <dgm:prSet/>
      <dgm:spPr/>
      <dgm:t>
        <a:bodyPr/>
        <a:lstStyle/>
        <a:p>
          <a:endParaRPr lang="es-CL"/>
        </a:p>
      </dgm:t>
    </dgm:pt>
    <dgm:pt modelId="{19776E37-EBC8-420B-8C42-4ADFECCD7262}">
      <dgm:prSet phldrT="[Texto]" custT="1"/>
      <dgm:spPr>
        <a:solidFill>
          <a:srgbClr val="D1F7EA">
            <a:alpha val="89804"/>
          </a:srgbClr>
        </a:solidFill>
        <a:ln>
          <a:solidFill>
            <a:srgbClr val="008080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>
            <a:lnSpc>
              <a:spcPct val="100000"/>
            </a:lnSpc>
          </a:pPr>
          <a:r>
            <a:rPr lang="es-CL" sz="1100" b="1" dirty="0">
              <a:solidFill>
                <a:srgbClr val="1B1B1B"/>
              </a:solidFill>
            </a:rPr>
            <a:t>Objetivo: </a:t>
          </a:r>
          <a:r>
            <a:rPr lang="es-CL" sz="1100" b="0" dirty="0">
              <a:solidFill>
                <a:srgbClr val="1B1B1B"/>
              </a:solidFill>
            </a:rPr>
            <a:t>Realizar una investigación sanitaria, mejorando la  trazabilidad del expediente</a:t>
          </a:r>
        </a:p>
      </dgm:t>
    </dgm:pt>
    <dgm:pt modelId="{A3E631B7-9209-4F79-8B7D-78DADD695CB6}" type="parTrans" cxnId="{77E5B836-E302-4B03-8D9D-321D20563789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1DFC8BA7-96D2-4B91-8AF1-67D585923E62}" type="sibTrans" cxnId="{77E5B836-E302-4B03-8D9D-321D20563789}">
      <dgm:prSet/>
      <dgm:spPr/>
      <dgm:t>
        <a:bodyPr/>
        <a:lstStyle/>
        <a:p>
          <a:endParaRPr lang="es-CL"/>
        </a:p>
      </dgm:t>
    </dgm:pt>
    <dgm:pt modelId="{2734CC2E-851E-4C8A-AD0D-683909B9569F}">
      <dgm:prSet phldrT="[Texto]" custT="1"/>
      <dgm:spPr>
        <a:solidFill>
          <a:srgbClr val="D1F7EA">
            <a:alpha val="90000"/>
          </a:srgbClr>
        </a:solidFill>
        <a:ln>
          <a:solidFill>
            <a:srgbClr val="008080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  <a:latin typeface="+mn-lt"/>
            </a:rPr>
            <a:t>Cliente Interno: </a:t>
          </a:r>
          <a:r>
            <a:rPr lang="es-CL" sz="1100" dirty="0">
              <a:solidFill>
                <a:srgbClr val="1B1B1B"/>
              </a:solidFill>
              <a:latin typeface="+mn-lt"/>
            </a:rPr>
            <a:t>Funcionarios </a:t>
          </a:r>
          <a:r>
            <a:rPr lang="es-CL" sz="1100" dirty="0" err="1" smtClean="0">
              <a:solidFill>
                <a:srgbClr val="1B1B1B"/>
              </a:solidFill>
              <a:latin typeface="+mn-lt"/>
            </a:rPr>
            <a:t>SEREMIs</a:t>
          </a:r>
          <a:endParaRPr lang="es-CL" sz="1100" dirty="0">
            <a:solidFill>
              <a:srgbClr val="1B1B1B"/>
            </a:solidFill>
            <a:latin typeface="+mn-lt"/>
          </a:endParaRPr>
        </a:p>
        <a:p>
          <a:pPr algn="l"/>
          <a:r>
            <a:rPr lang="es-CL" sz="1100" b="1" dirty="0">
              <a:solidFill>
                <a:srgbClr val="1B1B1B"/>
              </a:solidFill>
              <a:latin typeface="+mn-lt"/>
            </a:rPr>
            <a:t>Cliente Externo</a:t>
          </a:r>
          <a:r>
            <a:rPr lang="es-CL" sz="1100" dirty="0">
              <a:solidFill>
                <a:srgbClr val="1B1B1B"/>
              </a:solidFill>
              <a:latin typeface="+mn-lt"/>
            </a:rPr>
            <a:t>: Fiscalizados</a:t>
          </a:r>
          <a:endParaRPr lang="es-CL" sz="1100" b="1" dirty="0">
            <a:solidFill>
              <a:srgbClr val="1B1B1B"/>
            </a:solidFill>
          </a:endParaRPr>
        </a:p>
      </dgm:t>
    </dgm:pt>
    <dgm:pt modelId="{FFDDB0D2-5FB1-48A8-B604-54515B928839}" type="parTrans" cxnId="{771048F8-E9C8-47C5-8E0B-30C6C3E97A41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F2C0A5FA-0B8C-4D7C-AB9B-CB7F02674230}" type="sibTrans" cxnId="{771048F8-E9C8-47C5-8E0B-30C6C3E97A41}">
      <dgm:prSet/>
      <dgm:spPr/>
      <dgm:t>
        <a:bodyPr/>
        <a:lstStyle/>
        <a:p>
          <a:endParaRPr lang="es-CL"/>
        </a:p>
      </dgm:t>
    </dgm:pt>
    <dgm:pt modelId="{145DC95C-343A-4833-828F-640ECE557A3C}">
      <dgm:prSet phldrT="[Texto]" custT="1"/>
      <dgm:spPr>
        <a:solidFill>
          <a:srgbClr val="FFE2C5">
            <a:alpha val="89804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Objetivo: </a:t>
          </a:r>
          <a:r>
            <a:rPr lang="es-CL" sz="1100" b="0" dirty="0">
              <a:solidFill>
                <a:srgbClr val="1B1B1B"/>
              </a:solidFill>
            </a:rPr>
            <a:t>Buscar la mejora continua de los procesos que se llevan a cabo al interior del MINSAL </a:t>
          </a:r>
        </a:p>
      </dgm:t>
    </dgm:pt>
    <dgm:pt modelId="{1DCA5167-A940-4F7B-9438-7F81018BACA0}" type="parTrans" cxnId="{A471BC58-013B-4DA0-AFF6-D8784BCDD3E2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08A4C67C-F3AE-41D6-BE38-3A89DDEFAEBD}" type="sibTrans" cxnId="{A471BC58-013B-4DA0-AFF6-D8784BCDD3E2}">
      <dgm:prSet/>
      <dgm:spPr/>
      <dgm:t>
        <a:bodyPr/>
        <a:lstStyle/>
        <a:p>
          <a:endParaRPr lang="es-CL"/>
        </a:p>
      </dgm:t>
    </dgm:pt>
    <dgm:pt modelId="{9A2BBAB2-C159-4901-841E-042B80A8B630}">
      <dgm:prSet phldrT="[Texto]" custT="1"/>
      <dgm:spPr>
        <a:solidFill>
          <a:srgbClr val="FFE2C5">
            <a:alpha val="90000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  <a:latin typeface="+mn-lt"/>
            </a:rPr>
            <a:t>Cliente Interno: </a:t>
          </a:r>
          <a:r>
            <a:rPr lang="es-CL" sz="1100" dirty="0">
              <a:solidFill>
                <a:srgbClr val="1B1B1B"/>
              </a:solidFill>
              <a:latin typeface="+mn-lt"/>
            </a:rPr>
            <a:t>Funcionarios </a:t>
          </a:r>
          <a:r>
            <a:rPr lang="es-CL" sz="1100" dirty="0" err="1" smtClean="0">
              <a:solidFill>
                <a:srgbClr val="1B1B1B"/>
              </a:solidFill>
              <a:latin typeface="+mn-lt"/>
            </a:rPr>
            <a:t>SEREMIs</a:t>
          </a:r>
          <a:endParaRPr lang="es-CL" sz="1100" dirty="0">
            <a:solidFill>
              <a:srgbClr val="1B1B1B"/>
            </a:solidFill>
            <a:latin typeface="+mn-lt"/>
          </a:endParaRPr>
        </a:p>
        <a:p>
          <a:pPr algn="l"/>
          <a:r>
            <a:rPr lang="es-CL" sz="1100" b="1" dirty="0">
              <a:solidFill>
                <a:srgbClr val="1B1B1B"/>
              </a:solidFill>
              <a:latin typeface="+mn-lt"/>
            </a:rPr>
            <a:t>Cliente Externo</a:t>
          </a:r>
          <a:r>
            <a:rPr lang="es-CL" sz="1100" dirty="0">
              <a:solidFill>
                <a:srgbClr val="1B1B1B"/>
              </a:solidFill>
              <a:latin typeface="+mn-lt"/>
            </a:rPr>
            <a:t>:</a:t>
          </a:r>
        </a:p>
        <a:p>
          <a:pPr algn="l"/>
          <a:r>
            <a:rPr lang="es-CL" sz="1100" dirty="0">
              <a:solidFill>
                <a:srgbClr val="1B1B1B"/>
              </a:solidFill>
              <a:latin typeface="+mn-lt"/>
            </a:rPr>
            <a:t>Comunidad</a:t>
          </a:r>
        </a:p>
      </dgm:t>
    </dgm:pt>
    <dgm:pt modelId="{DC38496F-F34A-4653-960F-5BF8B21424EF}" type="parTrans" cxnId="{594C592D-E613-40FC-A690-DF62E0FBC905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68EB307C-59AE-429F-9E36-04ACDA9A891E}" type="sibTrans" cxnId="{594C592D-E613-40FC-A690-DF62E0FBC905}">
      <dgm:prSet/>
      <dgm:spPr/>
      <dgm:t>
        <a:bodyPr/>
        <a:lstStyle/>
        <a:p>
          <a:endParaRPr lang="es-CL"/>
        </a:p>
      </dgm:t>
    </dgm:pt>
    <dgm:pt modelId="{8746147D-8DC9-41D2-AF76-E3393A23BB17}">
      <dgm:prSet phldrT="[Texto]" custT="1"/>
      <dgm:spPr>
        <a:solidFill>
          <a:srgbClr val="FF9933"/>
        </a:solidFill>
      </dgm:spPr>
      <dgm:t>
        <a:bodyPr/>
        <a:lstStyle/>
        <a:p>
          <a:r>
            <a:rPr lang="es-CL" sz="2000" dirty="0"/>
            <a:t>  CALIDAD</a:t>
          </a:r>
        </a:p>
      </dgm:t>
    </dgm:pt>
    <dgm:pt modelId="{0699C35D-9DBD-493E-9B35-13B32D239E2E}" type="sibTrans" cxnId="{E6512D42-E6E4-4A49-AA36-F146703C69EF}">
      <dgm:prSet/>
      <dgm:spPr/>
      <dgm:t>
        <a:bodyPr/>
        <a:lstStyle/>
        <a:p>
          <a:endParaRPr lang="es-CL"/>
        </a:p>
      </dgm:t>
    </dgm:pt>
    <dgm:pt modelId="{9A0210E9-5A8C-4027-B606-6E0EAF96BFF0}" type="parTrans" cxnId="{E6512D42-E6E4-4A49-AA36-F146703C69EF}">
      <dgm:prSet/>
      <dgm:spPr/>
      <dgm:t>
        <a:bodyPr/>
        <a:lstStyle/>
        <a:p>
          <a:endParaRPr lang="es-CL"/>
        </a:p>
      </dgm:t>
    </dgm:pt>
    <dgm:pt modelId="{F9BDD195-9873-4859-9E5A-366D4086EBC9}">
      <dgm:prSet custT="1"/>
      <dgm:spPr>
        <a:solidFill>
          <a:srgbClr val="B233D5"/>
        </a:solidFill>
      </dgm:spPr>
      <dgm:t>
        <a:bodyPr/>
        <a:lstStyle/>
        <a:p>
          <a:r>
            <a:rPr lang="es-CL" sz="2000" dirty="0"/>
            <a:t>FARMACIA</a:t>
          </a:r>
        </a:p>
      </dgm:t>
    </dgm:pt>
    <dgm:pt modelId="{A89CC6C9-14BA-401B-8443-BE2B227722C5}" type="parTrans" cxnId="{084421BF-DD3B-4890-9D87-C4E1D7C29747}">
      <dgm:prSet/>
      <dgm:spPr/>
      <dgm:t>
        <a:bodyPr/>
        <a:lstStyle/>
        <a:p>
          <a:endParaRPr lang="es-CL"/>
        </a:p>
      </dgm:t>
    </dgm:pt>
    <dgm:pt modelId="{99B011BA-4964-47D2-86CE-3546E15448AC}" type="sibTrans" cxnId="{084421BF-DD3B-4890-9D87-C4E1D7C29747}">
      <dgm:prSet/>
      <dgm:spPr/>
      <dgm:t>
        <a:bodyPr/>
        <a:lstStyle/>
        <a:p>
          <a:endParaRPr lang="es-CL"/>
        </a:p>
      </dgm:t>
    </dgm:pt>
    <dgm:pt modelId="{06866570-9937-4602-80F8-51DB56C03E75}">
      <dgm:prSet custT="1"/>
      <dgm:spPr>
        <a:solidFill>
          <a:srgbClr val="E7E7FF">
            <a:alpha val="89804"/>
          </a:srgbClr>
        </a:solidFill>
        <a:ln>
          <a:solidFill>
            <a:srgbClr val="770EB2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Objetivo: </a:t>
          </a:r>
          <a:r>
            <a:rPr lang="es-CL" sz="1100" b="0" dirty="0">
              <a:solidFill>
                <a:srgbClr val="1B1B1B"/>
              </a:solidFill>
            </a:rPr>
            <a:t>Mantener informada a la población sobre las farmacias de turno a nivel nacional</a:t>
          </a:r>
          <a:endParaRPr lang="es-CL" sz="2000" b="0" dirty="0">
            <a:solidFill>
              <a:srgbClr val="1B1B1B"/>
            </a:solidFill>
          </a:endParaRPr>
        </a:p>
      </dgm:t>
    </dgm:pt>
    <dgm:pt modelId="{B784CD62-3076-425C-B3D6-396E8EFD4C85}" type="parTrans" cxnId="{59341204-84A7-49A8-B95D-4B6AAB2309D6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9AEED5E1-2059-4EC2-ABAD-2BA2880E5ED4}" type="sibTrans" cxnId="{59341204-84A7-49A8-B95D-4B6AAB2309D6}">
      <dgm:prSet/>
      <dgm:spPr/>
      <dgm:t>
        <a:bodyPr/>
        <a:lstStyle/>
        <a:p>
          <a:endParaRPr lang="es-CL"/>
        </a:p>
      </dgm:t>
    </dgm:pt>
    <dgm:pt modelId="{F37EA4B3-B179-4A1E-8903-25972DA5E959}">
      <dgm:prSet custT="1"/>
      <dgm:spPr>
        <a:solidFill>
          <a:srgbClr val="E7E7FF">
            <a:alpha val="90000"/>
          </a:srgbClr>
        </a:solidFill>
        <a:ln>
          <a:solidFill>
            <a:srgbClr val="770EB2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  <a:latin typeface="+mn-lt"/>
            </a:rPr>
            <a:t>Cliente Interno: </a:t>
          </a:r>
          <a:r>
            <a:rPr lang="es-CL" sz="1100" dirty="0">
              <a:solidFill>
                <a:srgbClr val="1B1B1B"/>
              </a:solidFill>
              <a:latin typeface="+mn-lt"/>
            </a:rPr>
            <a:t>Funcionarios </a:t>
          </a:r>
          <a:r>
            <a:rPr lang="es-CL" sz="1100" dirty="0" err="1" smtClean="0">
              <a:solidFill>
                <a:srgbClr val="1B1B1B"/>
              </a:solidFill>
              <a:latin typeface="+mn-lt"/>
            </a:rPr>
            <a:t>SEREMIs</a:t>
          </a:r>
          <a:endParaRPr lang="es-CL" sz="1100" dirty="0">
            <a:solidFill>
              <a:srgbClr val="1B1B1B"/>
            </a:solidFill>
            <a:latin typeface="+mn-lt"/>
          </a:endParaRPr>
        </a:p>
        <a:p>
          <a:pPr algn="l"/>
          <a:r>
            <a:rPr lang="es-CL" sz="1100" b="1" dirty="0">
              <a:solidFill>
                <a:srgbClr val="1B1B1B"/>
              </a:solidFill>
              <a:latin typeface="+mn-lt"/>
            </a:rPr>
            <a:t>Cliente Externo</a:t>
          </a:r>
          <a:r>
            <a:rPr lang="es-CL" sz="1100" dirty="0">
              <a:solidFill>
                <a:srgbClr val="1B1B1B"/>
              </a:solidFill>
              <a:latin typeface="+mn-lt"/>
            </a:rPr>
            <a:t>: Comunidad</a:t>
          </a:r>
        </a:p>
        <a:p>
          <a:pPr algn="l"/>
          <a:endParaRPr lang="es-CL" sz="1100" dirty="0">
            <a:solidFill>
              <a:schemeClr val="tx2">
                <a:lumMod val="75000"/>
              </a:schemeClr>
            </a:solidFill>
          </a:endParaRPr>
        </a:p>
      </dgm:t>
    </dgm:pt>
    <dgm:pt modelId="{0B252B1E-5D95-4ADA-85A1-383A472B6801}" type="parTrans" cxnId="{AB62E428-39A2-46A4-99FA-8D40829DEA56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2D63E125-422D-4331-9961-069DD95A0569}" type="sibTrans" cxnId="{AB62E428-39A2-46A4-99FA-8D40829DEA56}">
      <dgm:prSet/>
      <dgm:spPr/>
      <dgm:t>
        <a:bodyPr/>
        <a:lstStyle/>
        <a:p>
          <a:endParaRPr lang="es-CL"/>
        </a:p>
      </dgm:t>
    </dgm:pt>
    <dgm:pt modelId="{D2883BF8-8F9D-4EA2-8AF4-AD8BBBA155D8}">
      <dgm:prSet custT="1"/>
      <dgm:spPr>
        <a:solidFill>
          <a:srgbClr val="E7E7FF">
            <a:alpha val="90000"/>
          </a:srgbClr>
        </a:solidFill>
        <a:ln>
          <a:solidFill>
            <a:srgbClr val="770EB2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Referente: </a:t>
          </a:r>
        </a:p>
        <a:p>
          <a:pPr algn="l"/>
          <a:r>
            <a:rPr lang="es-CL" sz="1100" dirty="0" err="1">
              <a:solidFill>
                <a:srgbClr val="1B1B1B"/>
              </a:solidFill>
            </a:rPr>
            <a:t>Karem</a:t>
          </a:r>
          <a:r>
            <a:rPr lang="es-CL" sz="1100" dirty="0">
              <a:solidFill>
                <a:srgbClr val="1B1B1B"/>
              </a:solidFill>
            </a:rPr>
            <a:t> Castillo</a:t>
          </a:r>
        </a:p>
      </dgm:t>
    </dgm:pt>
    <dgm:pt modelId="{0076D393-258B-411F-9E1B-45EEB92551EE}" type="parTrans" cxnId="{5E86D010-5A1C-49FC-8919-E63C3A0F4C8E}">
      <dgm:prSet/>
      <dgm:spPr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endParaRPr lang="es-CL"/>
        </a:p>
      </dgm:t>
    </dgm:pt>
    <dgm:pt modelId="{091B76C2-98AD-4FDC-9433-2E707496C7E7}" type="sibTrans" cxnId="{5E86D010-5A1C-49FC-8919-E63C3A0F4C8E}">
      <dgm:prSet/>
      <dgm:spPr/>
      <dgm:t>
        <a:bodyPr/>
        <a:lstStyle/>
        <a:p>
          <a:endParaRPr lang="es-CL"/>
        </a:p>
      </dgm:t>
    </dgm:pt>
    <dgm:pt modelId="{F9B2E840-DE88-441B-8F8F-A2DE66ED0633}">
      <dgm:prSet custT="1"/>
      <dgm:spPr>
        <a:solidFill>
          <a:srgbClr val="D1F7EA">
            <a:alpha val="90000"/>
          </a:srgbClr>
        </a:solidFill>
        <a:ln>
          <a:solidFill>
            <a:srgbClr val="008080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Referente: </a:t>
          </a:r>
        </a:p>
        <a:p>
          <a:pPr algn="l"/>
          <a:r>
            <a:rPr lang="es-CL" sz="1100">
              <a:solidFill>
                <a:srgbClr val="1B1B1B"/>
              </a:solidFill>
            </a:rPr>
            <a:t>Josselyn </a:t>
          </a:r>
          <a:r>
            <a:rPr lang="es-CL" sz="1100" dirty="0">
              <a:solidFill>
                <a:srgbClr val="1B1B1B"/>
              </a:solidFill>
            </a:rPr>
            <a:t>Novoa</a:t>
          </a:r>
        </a:p>
        <a:p>
          <a:pPr algn="l"/>
          <a:r>
            <a:rPr lang="es-CL" sz="1100" dirty="0">
              <a:solidFill>
                <a:srgbClr val="1B1B1B"/>
              </a:solidFill>
            </a:rPr>
            <a:t>Marcelo Olivares</a:t>
          </a:r>
        </a:p>
      </dgm:t>
    </dgm:pt>
    <dgm:pt modelId="{9521B682-538C-4B7C-8D37-8F635E3CEDCF}" type="parTrans" cxnId="{9488A6F3-A97B-4440-8CCF-1D1C8498DB65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C0B8BDFE-6B71-412F-87BA-AE560DB88854}" type="sibTrans" cxnId="{9488A6F3-A97B-4440-8CCF-1D1C8498DB65}">
      <dgm:prSet/>
      <dgm:spPr/>
      <dgm:t>
        <a:bodyPr/>
        <a:lstStyle/>
        <a:p>
          <a:endParaRPr lang="es-CL"/>
        </a:p>
      </dgm:t>
    </dgm:pt>
    <dgm:pt modelId="{79272D6E-260D-4233-BB8C-2615A79B2370}">
      <dgm:prSet custT="1"/>
      <dgm:spPr>
        <a:solidFill>
          <a:srgbClr val="FFE2C5">
            <a:alpha val="90000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Referente:</a:t>
          </a:r>
          <a:endParaRPr lang="es-CL" sz="2000" b="1" dirty="0">
            <a:solidFill>
              <a:srgbClr val="1B1B1B"/>
            </a:solidFill>
          </a:endParaRPr>
        </a:p>
        <a:p>
          <a:pPr algn="l"/>
          <a:r>
            <a:rPr lang="es-CL" sz="1100" dirty="0">
              <a:solidFill>
                <a:srgbClr val="1B1B1B"/>
              </a:solidFill>
            </a:rPr>
            <a:t>Paula Cisternas</a:t>
          </a:r>
        </a:p>
      </dgm:t>
    </dgm:pt>
    <dgm:pt modelId="{DCC9AE9E-E07F-4170-A9FA-84A7499D7727}" type="parTrans" cxnId="{2FCEB088-16D6-47CC-8CDA-D10E0FE24B49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071D1648-D77A-43D6-BA13-C7FC8C12C3C7}" type="sibTrans" cxnId="{2FCEB088-16D6-47CC-8CDA-D10E0FE24B49}">
      <dgm:prSet/>
      <dgm:spPr/>
      <dgm:t>
        <a:bodyPr/>
        <a:lstStyle/>
        <a:p>
          <a:endParaRPr lang="es-CL"/>
        </a:p>
      </dgm:t>
    </dgm:pt>
    <dgm:pt modelId="{C56710DF-7A83-4F98-B90E-671C2AA7E0FD}">
      <dgm:prSet custT="1"/>
      <dgm:spPr>
        <a:solidFill>
          <a:srgbClr val="D1F7EA">
            <a:alpha val="90000"/>
          </a:srgbClr>
        </a:solidFill>
        <a:ln>
          <a:solidFill>
            <a:srgbClr val="008080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Impacto (+) </a:t>
          </a:r>
          <a:r>
            <a:rPr lang="es-CL" sz="1100" b="0" dirty="0">
              <a:solidFill>
                <a:srgbClr val="1B1B1B"/>
              </a:solidFill>
            </a:rPr>
            <a:t>Cumplimiento del código sanitario</a:t>
          </a:r>
        </a:p>
      </dgm:t>
    </dgm:pt>
    <dgm:pt modelId="{ADB013F8-898F-4BBA-9FDB-6B9AEDAC8C5C}" type="parTrans" cxnId="{8D50B8C6-C59D-4809-B6C7-D2A414E53476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2006F637-53B8-4FE9-8CE1-A388B5E2D5B6}" type="sibTrans" cxnId="{8D50B8C6-C59D-4809-B6C7-D2A414E53476}">
      <dgm:prSet/>
      <dgm:spPr/>
      <dgm:t>
        <a:bodyPr/>
        <a:lstStyle/>
        <a:p>
          <a:endParaRPr lang="es-CL"/>
        </a:p>
      </dgm:t>
    </dgm:pt>
    <dgm:pt modelId="{D25524BB-BA01-4625-A17E-1375E25926A9}">
      <dgm:prSet custT="1"/>
      <dgm:spPr>
        <a:solidFill>
          <a:srgbClr val="E7E7FF">
            <a:alpha val="90000"/>
          </a:srgbClr>
        </a:solidFill>
        <a:ln>
          <a:solidFill>
            <a:srgbClr val="770EB2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Impacto (+)</a:t>
          </a:r>
          <a:r>
            <a:rPr lang="es-CL" sz="1100" b="0" dirty="0">
              <a:solidFill>
                <a:srgbClr val="1B1B1B"/>
              </a:solidFill>
            </a:rPr>
            <a:t>Permitir a la población el acceso a medicamentos según su localidad durante las 24 </a:t>
          </a:r>
          <a:r>
            <a:rPr lang="es-CL" sz="1100" b="0" dirty="0" err="1">
              <a:solidFill>
                <a:srgbClr val="1B1B1B"/>
              </a:solidFill>
            </a:rPr>
            <a:t>hrs</a:t>
          </a:r>
          <a:r>
            <a:rPr lang="es-CL" sz="1100" b="0" dirty="0">
              <a:solidFill>
                <a:srgbClr val="1B1B1B"/>
              </a:solidFill>
            </a:rPr>
            <a:t>.</a:t>
          </a:r>
        </a:p>
      </dgm:t>
    </dgm:pt>
    <dgm:pt modelId="{7642F327-1072-4DD7-8085-E4BEF0F7CEF6}" type="parTrans" cxnId="{14FE2990-FBFB-4DD4-85C4-3C412A17E776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F0379A5C-83CD-400E-BCC1-D6666301BB20}" type="sibTrans" cxnId="{14FE2990-FBFB-4DD4-85C4-3C412A17E776}">
      <dgm:prSet/>
      <dgm:spPr/>
      <dgm:t>
        <a:bodyPr/>
        <a:lstStyle/>
        <a:p>
          <a:endParaRPr lang="es-CL"/>
        </a:p>
      </dgm:t>
    </dgm:pt>
    <dgm:pt modelId="{B025C224-6AB6-4DA0-9D7C-A18572E7C3E7}">
      <dgm:prSet custT="1"/>
      <dgm:spPr>
        <a:solidFill>
          <a:srgbClr val="FFE2C5">
            <a:alpha val="90000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Impacto (+) </a:t>
          </a:r>
          <a:r>
            <a:rPr lang="es-CL" sz="1100" b="0" dirty="0">
              <a:solidFill>
                <a:srgbClr val="1B1B1B"/>
              </a:solidFill>
            </a:rPr>
            <a:t>Estandarización de procesos, generando una respuesta a tiempo </a:t>
          </a:r>
          <a:endParaRPr lang="es-CL" sz="2400" b="0" dirty="0">
            <a:solidFill>
              <a:srgbClr val="1B1B1B"/>
            </a:solidFill>
          </a:endParaRPr>
        </a:p>
      </dgm:t>
    </dgm:pt>
    <dgm:pt modelId="{0584F9A7-3B88-4429-B30D-6B7D69D8BF3E}" type="parTrans" cxnId="{A0992136-E705-48C0-840D-27FD58FB9299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3520BF3D-E159-4622-8A4E-105E1C511458}" type="sibTrans" cxnId="{A0992136-E705-48C0-840D-27FD58FB9299}">
      <dgm:prSet/>
      <dgm:spPr/>
      <dgm:t>
        <a:bodyPr/>
        <a:lstStyle/>
        <a:p>
          <a:endParaRPr lang="es-CL"/>
        </a:p>
      </dgm:t>
    </dgm:pt>
    <dgm:pt modelId="{9B7985EC-B0EF-4343-B642-77C28343B400}" type="pres">
      <dgm:prSet presAssocID="{C1FBEED3-01B1-46F3-B957-C11B257F1AE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ES"/>
        </a:p>
      </dgm:t>
    </dgm:pt>
    <dgm:pt modelId="{E0EA4377-9324-445C-BE79-82DCA49297B7}" type="pres">
      <dgm:prSet presAssocID="{CF0A68FE-74EF-4AA2-9ED9-7B01612DF642}" presName="root" presStyleCnt="0"/>
      <dgm:spPr/>
    </dgm:pt>
    <dgm:pt modelId="{B65F52D6-B171-48CC-A37C-D69CDDA68680}" type="pres">
      <dgm:prSet presAssocID="{CF0A68FE-74EF-4AA2-9ED9-7B01612DF642}" presName="rootComposite" presStyleCnt="0"/>
      <dgm:spPr/>
    </dgm:pt>
    <dgm:pt modelId="{7A36CD1C-4CDD-455D-9997-CCE8CF7F334A}" type="pres">
      <dgm:prSet presAssocID="{CF0A68FE-74EF-4AA2-9ED9-7B01612DF642}" presName="rootText" presStyleLbl="node1" presStyleIdx="0" presStyleCnt="3" custLinFactNeighborX="-45499" custLinFactNeighborY="4550"/>
      <dgm:spPr/>
      <dgm:t>
        <a:bodyPr/>
        <a:lstStyle/>
        <a:p>
          <a:endParaRPr lang="es-ES"/>
        </a:p>
      </dgm:t>
    </dgm:pt>
    <dgm:pt modelId="{2F95051D-7999-4B57-B62B-0A8E93ED2CF3}" type="pres">
      <dgm:prSet presAssocID="{CF0A68FE-74EF-4AA2-9ED9-7B01612DF642}" presName="rootConnector" presStyleLbl="node1" presStyleIdx="0" presStyleCnt="3"/>
      <dgm:spPr/>
      <dgm:t>
        <a:bodyPr/>
        <a:lstStyle/>
        <a:p>
          <a:endParaRPr lang="es-ES"/>
        </a:p>
      </dgm:t>
    </dgm:pt>
    <dgm:pt modelId="{90052C28-923F-4976-8A30-1CBD34BA8232}" type="pres">
      <dgm:prSet presAssocID="{CF0A68FE-74EF-4AA2-9ED9-7B01612DF642}" presName="childShape" presStyleCnt="0"/>
      <dgm:spPr/>
    </dgm:pt>
    <dgm:pt modelId="{E0CA4CE8-DF13-4590-987B-E1F14878D0D0}" type="pres">
      <dgm:prSet presAssocID="{A3E631B7-9209-4F79-8B7D-78DADD695CB6}" presName="Name13" presStyleLbl="parChTrans1D2" presStyleIdx="0" presStyleCnt="12"/>
      <dgm:spPr/>
      <dgm:t>
        <a:bodyPr/>
        <a:lstStyle/>
        <a:p>
          <a:endParaRPr lang="es-ES"/>
        </a:p>
      </dgm:t>
    </dgm:pt>
    <dgm:pt modelId="{425CC0D6-A987-4F3E-A514-4EB36E1C05A6}" type="pres">
      <dgm:prSet presAssocID="{19776E37-EBC8-420B-8C42-4ADFECCD7262}" presName="childText" presStyleLbl="bgAcc1" presStyleIdx="0" presStyleCnt="12" custLinFactNeighborX="-3696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EDB7E69-381A-499F-BF32-533698ED6D9E}" type="pres">
      <dgm:prSet presAssocID="{FFDDB0D2-5FB1-48A8-B604-54515B928839}" presName="Name13" presStyleLbl="parChTrans1D2" presStyleIdx="1" presStyleCnt="12"/>
      <dgm:spPr/>
      <dgm:t>
        <a:bodyPr/>
        <a:lstStyle/>
        <a:p>
          <a:endParaRPr lang="es-ES"/>
        </a:p>
      </dgm:t>
    </dgm:pt>
    <dgm:pt modelId="{C498833A-40BB-462F-8173-10509195D56C}" type="pres">
      <dgm:prSet presAssocID="{2734CC2E-851E-4C8A-AD0D-683909B9569F}" presName="childText" presStyleLbl="bgAcc1" presStyleIdx="1" presStyleCnt="12" custLinFactNeighborX="-37917" custLinFactNeighborY="151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090B7D8-B3E0-4B2F-AFC1-6E82D4E32AFB}" type="pres">
      <dgm:prSet presAssocID="{9521B682-538C-4B7C-8D37-8F635E3CEDCF}" presName="Name13" presStyleLbl="parChTrans1D2" presStyleIdx="2" presStyleCnt="12"/>
      <dgm:spPr/>
      <dgm:t>
        <a:bodyPr/>
        <a:lstStyle/>
        <a:p>
          <a:endParaRPr lang="es-ES"/>
        </a:p>
      </dgm:t>
    </dgm:pt>
    <dgm:pt modelId="{52FB85B1-0560-4612-929C-E666117661C5}" type="pres">
      <dgm:prSet presAssocID="{F9B2E840-DE88-441B-8F8F-A2DE66ED0633}" presName="childText" presStyleLbl="bgAcc1" presStyleIdx="2" presStyleCnt="12" custLinFactNeighborX="-36968" custLinFactNeighborY="151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31CFEE3-EF12-4482-A39F-04BAC3EAFDD4}" type="pres">
      <dgm:prSet presAssocID="{ADB013F8-898F-4BBA-9FDB-6B9AEDAC8C5C}" presName="Name13" presStyleLbl="parChTrans1D2" presStyleIdx="3" presStyleCnt="12"/>
      <dgm:spPr/>
      <dgm:t>
        <a:bodyPr/>
        <a:lstStyle/>
        <a:p>
          <a:endParaRPr lang="es-ES"/>
        </a:p>
      </dgm:t>
    </dgm:pt>
    <dgm:pt modelId="{EF2D5B3F-8873-4D01-A72A-E045084A3BEB}" type="pres">
      <dgm:prSet presAssocID="{C56710DF-7A83-4F98-B90E-671C2AA7E0FD}" presName="childText" presStyleLbl="bgAcc1" presStyleIdx="3" presStyleCnt="12" custLinFactNeighborX="-3696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8A096D9-1EFA-44CE-ABCA-781100FE0571}" type="pres">
      <dgm:prSet presAssocID="{F9BDD195-9873-4859-9E5A-366D4086EBC9}" presName="root" presStyleCnt="0"/>
      <dgm:spPr/>
    </dgm:pt>
    <dgm:pt modelId="{C19C8F78-A25C-447B-AB15-580F4CDF29EF}" type="pres">
      <dgm:prSet presAssocID="{F9BDD195-9873-4859-9E5A-366D4086EBC9}" presName="rootComposite" presStyleCnt="0"/>
      <dgm:spPr/>
    </dgm:pt>
    <dgm:pt modelId="{7B33427B-A5D7-45FA-9C9F-3604B9916F97}" type="pres">
      <dgm:prSet presAssocID="{F9BDD195-9873-4859-9E5A-366D4086EBC9}" presName="rootText" presStyleLbl="node1" presStyleIdx="1" presStyleCnt="3" custLinFactNeighborX="-13650" custLinFactNeighborY="6066"/>
      <dgm:spPr/>
      <dgm:t>
        <a:bodyPr/>
        <a:lstStyle/>
        <a:p>
          <a:endParaRPr lang="es-ES"/>
        </a:p>
      </dgm:t>
    </dgm:pt>
    <dgm:pt modelId="{153432B2-7305-4E7F-98B3-29ECE0996D08}" type="pres">
      <dgm:prSet presAssocID="{F9BDD195-9873-4859-9E5A-366D4086EBC9}" presName="rootConnector" presStyleLbl="node1" presStyleIdx="1" presStyleCnt="3"/>
      <dgm:spPr/>
      <dgm:t>
        <a:bodyPr/>
        <a:lstStyle/>
        <a:p>
          <a:endParaRPr lang="es-ES"/>
        </a:p>
      </dgm:t>
    </dgm:pt>
    <dgm:pt modelId="{8D01CE45-FB71-4B2F-8080-03B1F5F4DEB5}" type="pres">
      <dgm:prSet presAssocID="{F9BDD195-9873-4859-9E5A-366D4086EBC9}" presName="childShape" presStyleCnt="0"/>
      <dgm:spPr/>
    </dgm:pt>
    <dgm:pt modelId="{84099D88-DA45-493B-BC00-2EF75A9E221B}" type="pres">
      <dgm:prSet presAssocID="{B784CD62-3076-425C-B3D6-396E8EFD4C85}" presName="Name13" presStyleLbl="parChTrans1D2" presStyleIdx="4" presStyleCnt="12"/>
      <dgm:spPr/>
      <dgm:t>
        <a:bodyPr/>
        <a:lstStyle/>
        <a:p>
          <a:endParaRPr lang="es-ES"/>
        </a:p>
      </dgm:t>
    </dgm:pt>
    <dgm:pt modelId="{1D40BAC0-730F-468C-A268-4CE337B40F55}" type="pres">
      <dgm:prSet presAssocID="{06866570-9937-4602-80F8-51DB56C03E75}" presName="childText" presStyleLbl="bgAcc1" presStyleIdx="4" presStyleCnt="12" custScaleX="11066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4327BF4-1CE4-4EC1-B596-37CE9AA885DB}" type="pres">
      <dgm:prSet presAssocID="{0B252B1E-5D95-4ADA-85A1-383A472B6801}" presName="Name13" presStyleLbl="parChTrans1D2" presStyleIdx="5" presStyleCnt="12"/>
      <dgm:spPr/>
      <dgm:t>
        <a:bodyPr/>
        <a:lstStyle/>
        <a:p>
          <a:endParaRPr lang="es-ES"/>
        </a:p>
      </dgm:t>
    </dgm:pt>
    <dgm:pt modelId="{33080A38-A292-49F0-8CAD-FD2C02E715E4}" type="pres">
      <dgm:prSet presAssocID="{F37EA4B3-B179-4A1E-8903-25972DA5E959}" presName="childText" presStyleLbl="bgAcc1" presStyleIdx="5" presStyleCnt="12" custScaleX="108762" custScaleY="98719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D8356AA-4FF3-4C94-86D4-33D7492D9366}" type="pres">
      <dgm:prSet presAssocID="{0076D393-258B-411F-9E1B-45EEB92551EE}" presName="Name13" presStyleLbl="parChTrans1D2" presStyleIdx="6" presStyleCnt="12"/>
      <dgm:spPr/>
      <dgm:t>
        <a:bodyPr/>
        <a:lstStyle/>
        <a:p>
          <a:endParaRPr lang="es-ES"/>
        </a:p>
      </dgm:t>
    </dgm:pt>
    <dgm:pt modelId="{A9500BED-E339-42BC-86E0-49507C8F2259}" type="pres">
      <dgm:prSet presAssocID="{D2883BF8-8F9D-4EA2-8AF4-AD8BBBA155D8}" presName="childText" presStyleLbl="bgAcc1" presStyleIdx="6" presStyleCnt="12" custScaleX="110338" custScaleY="10337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094DAF6-161A-48A6-B978-DABD7441AB19}" type="pres">
      <dgm:prSet presAssocID="{7642F327-1072-4DD7-8085-E4BEF0F7CEF6}" presName="Name13" presStyleLbl="parChTrans1D2" presStyleIdx="7" presStyleCnt="12"/>
      <dgm:spPr/>
      <dgm:t>
        <a:bodyPr/>
        <a:lstStyle/>
        <a:p>
          <a:endParaRPr lang="es-ES"/>
        </a:p>
      </dgm:t>
    </dgm:pt>
    <dgm:pt modelId="{AF282591-F9D6-4D71-87B7-F071E96D36ED}" type="pres">
      <dgm:prSet presAssocID="{D25524BB-BA01-4625-A17E-1375E25926A9}" presName="childText" presStyleLbl="bgAcc1" presStyleIdx="7" presStyleCnt="12" custScaleX="114313" custScaleY="98622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5D23DC3-E02C-43C3-AF6A-33F3523254CB}" type="pres">
      <dgm:prSet presAssocID="{8746147D-8DC9-41D2-AF76-E3393A23BB17}" presName="root" presStyleCnt="0"/>
      <dgm:spPr/>
    </dgm:pt>
    <dgm:pt modelId="{4C2EB443-896C-4637-8823-9D5A5242112F}" type="pres">
      <dgm:prSet presAssocID="{8746147D-8DC9-41D2-AF76-E3393A23BB17}" presName="rootComposite" presStyleCnt="0"/>
      <dgm:spPr/>
    </dgm:pt>
    <dgm:pt modelId="{4A1F2038-FA57-4AC2-8252-3ACCDA100695}" type="pres">
      <dgm:prSet presAssocID="{8746147D-8DC9-41D2-AF76-E3393A23BB17}" presName="rootText" presStyleLbl="node1" presStyleIdx="2" presStyleCnt="3" custLinFactNeighborX="30333" custLinFactNeighborY="1517"/>
      <dgm:spPr/>
      <dgm:t>
        <a:bodyPr/>
        <a:lstStyle/>
        <a:p>
          <a:endParaRPr lang="es-ES"/>
        </a:p>
      </dgm:t>
    </dgm:pt>
    <dgm:pt modelId="{4A494DA0-FA72-44E1-902B-A8B74A7AFC5A}" type="pres">
      <dgm:prSet presAssocID="{8746147D-8DC9-41D2-AF76-E3393A23BB17}" presName="rootConnector" presStyleLbl="node1" presStyleIdx="2" presStyleCnt="3"/>
      <dgm:spPr/>
      <dgm:t>
        <a:bodyPr/>
        <a:lstStyle/>
        <a:p>
          <a:endParaRPr lang="es-ES"/>
        </a:p>
      </dgm:t>
    </dgm:pt>
    <dgm:pt modelId="{B1CED59B-0E8C-4780-AF03-6A8D8134D1DC}" type="pres">
      <dgm:prSet presAssocID="{8746147D-8DC9-41D2-AF76-E3393A23BB17}" presName="childShape" presStyleCnt="0"/>
      <dgm:spPr/>
    </dgm:pt>
    <dgm:pt modelId="{80AEAD2E-F332-49ED-B347-BB757F2051EC}" type="pres">
      <dgm:prSet presAssocID="{1DCA5167-A940-4F7B-9438-7F81018BACA0}" presName="Name13" presStyleLbl="parChTrans1D2" presStyleIdx="8" presStyleCnt="12"/>
      <dgm:spPr/>
      <dgm:t>
        <a:bodyPr/>
        <a:lstStyle/>
        <a:p>
          <a:endParaRPr lang="es-ES"/>
        </a:p>
      </dgm:t>
    </dgm:pt>
    <dgm:pt modelId="{514CCD24-1E2C-453D-BF22-88DF87AF73A9}" type="pres">
      <dgm:prSet presAssocID="{145DC95C-343A-4833-828F-640ECE557A3C}" presName="childText" presStyleLbl="bgAcc1" presStyleIdx="8" presStyleCnt="12" custLinFactNeighborX="49291" custLinFactNeighborY="-151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C4AE9B6-DFD3-48C1-9A53-5B6F93D311A8}" type="pres">
      <dgm:prSet presAssocID="{DC38496F-F34A-4653-960F-5BF8B21424EF}" presName="Name13" presStyleLbl="parChTrans1D2" presStyleIdx="9" presStyleCnt="12"/>
      <dgm:spPr/>
      <dgm:t>
        <a:bodyPr/>
        <a:lstStyle/>
        <a:p>
          <a:endParaRPr lang="es-ES"/>
        </a:p>
      </dgm:t>
    </dgm:pt>
    <dgm:pt modelId="{B3A7663D-4801-4EEA-BC36-9D7BE3DC1324}" type="pres">
      <dgm:prSet presAssocID="{9A2BBAB2-C159-4901-841E-042B80A8B630}" presName="childText" presStyleLbl="bgAcc1" presStyleIdx="9" presStyleCnt="12" custScaleX="102793" custLinFactNeighborX="5023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53F0568-A673-45CB-95BE-4F77D8A4A58F}" type="pres">
      <dgm:prSet presAssocID="{DCC9AE9E-E07F-4170-A9FA-84A7499D7727}" presName="Name13" presStyleLbl="parChTrans1D2" presStyleIdx="10" presStyleCnt="12"/>
      <dgm:spPr/>
      <dgm:t>
        <a:bodyPr/>
        <a:lstStyle/>
        <a:p>
          <a:endParaRPr lang="es-ES"/>
        </a:p>
      </dgm:t>
    </dgm:pt>
    <dgm:pt modelId="{2BC3C2DE-9EAD-4869-A336-94FDD377E048}" type="pres">
      <dgm:prSet presAssocID="{79272D6E-260D-4233-BB8C-2615A79B2370}" presName="childText" presStyleLbl="bgAcc1" presStyleIdx="10" presStyleCnt="12" custLinFactNeighborX="52134" custLinFactNeighborY="151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AAB32A4-E0E6-4BA2-921B-10C63878908B}" type="pres">
      <dgm:prSet presAssocID="{0584F9A7-3B88-4429-B30D-6B7D69D8BF3E}" presName="Name13" presStyleLbl="parChTrans1D2" presStyleIdx="11" presStyleCnt="12"/>
      <dgm:spPr/>
      <dgm:t>
        <a:bodyPr/>
        <a:lstStyle/>
        <a:p>
          <a:endParaRPr lang="es-ES"/>
        </a:p>
      </dgm:t>
    </dgm:pt>
    <dgm:pt modelId="{DA1E3552-3CB3-4CD8-8A5E-E9128AFBAF32}" type="pres">
      <dgm:prSet presAssocID="{B025C224-6AB6-4DA0-9D7C-A18572E7C3E7}" presName="childText" presStyleLbl="bgAcc1" presStyleIdx="11" presStyleCnt="12" custLinFactNeighborX="53082" custLinFactNeighborY="9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0B1179BC-9DA1-421C-95CD-92B000C8C3F4}" type="presOf" srcId="{0B252B1E-5D95-4ADA-85A1-383A472B6801}" destId="{34327BF4-1CE4-4EC1-B596-37CE9AA885DB}" srcOrd="0" destOrd="0" presId="urn:microsoft.com/office/officeart/2005/8/layout/hierarchy3"/>
    <dgm:cxn modelId="{CEFEB98B-2849-4D21-B7E6-02FCDD8AA790}" type="presOf" srcId="{8746147D-8DC9-41D2-AF76-E3393A23BB17}" destId="{4A1F2038-FA57-4AC2-8252-3ACCDA100695}" srcOrd="0" destOrd="0" presId="urn:microsoft.com/office/officeart/2005/8/layout/hierarchy3"/>
    <dgm:cxn modelId="{084421BF-DD3B-4890-9D87-C4E1D7C29747}" srcId="{C1FBEED3-01B1-46F3-B957-C11B257F1AE3}" destId="{F9BDD195-9873-4859-9E5A-366D4086EBC9}" srcOrd="1" destOrd="0" parTransId="{A89CC6C9-14BA-401B-8443-BE2B227722C5}" sibTransId="{99B011BA-4964-47D2-86CE-3546E15448AC}"/>
    <dgm:cxn modelId="{14FE2990-FBFB-4DD4-85C4-3C412A17E776}" srcId="{F9BDD195-9873-4859-9E5A-366D4086EBC9}" destId="{D25524BB-BA01-4625-A17E-1375E25926A9}" srcOrd="3" destOrd="0" parTransId="{7642F327-1072-4DD7-8085-E4BEF0F7CEF6}" sibTransId="{F0379A5C-83CD-400E-BCC1-D6666301BB20}"/>
    <dgm:cxn modelId="{E7306793-30D2-405B-AFAB-6424D25B55E0}" type="presOf" srcId="{C1FBEED3-01B1-46F3-B957-C11B257F1AE3}" destId="{9B7985EC-B0EF-4343-B642-77C28343B400}" srcOrd="0" destOrd="0" presId="urn:microsoft.com/office/officeart/2005/8/layout/hierarchy3"/>
    <dgm:cxn modelId="{CB1F206E-AD83-4FED-9A2A-E19FD1E83D1B}" type="presOf" srcId="{B784CD62-3076-425C-B3D6-396E8EFD4C85}" destId="{84099D88-DA45-493B-BC00-2EF75A9E221B}" srcOrd="0" destOrd="0" presId="urn:microsoft.com/office/officeart/2005/8/layout/hierarchy3"/>
    <dgm:cxn modelId="{EA0149BF-E12D-4B9F-98FA-683D9BEDA336}" type="presOf" srcId="{DC38496F-F34A-4653-960F-5BF8B21424EF}" destId="{AC4AE9B6-DFD3-48C1-9A53-5B6F93D311A8}" srcOrd="0" destOrd="0" presId="urn:microsoft.com/office/officeart/2005/8/layout/hierarchy3"/>
    <dgm:cxn modelId="{52EA1105-0CCB-42CF-997E-6107221893D8}" type="presOf" srcId="{D2883BF8-8F9D-4EA2-8AF4-AD8BBBA155D8}" destId="{A9500BED-E339-42BC-86E0-49507C8F2259}" srcOrd="0" destOrd="0" presId="urn:microsoft.com/office/officeart/2005/8/layout/hierarchy3"/>
    <dgm:cxn modelId="{C8C7D96F-0354-4636-8A02-506F7566CC5F}" type="presOf" srcId="{A3E631B7-9209-4F79-8B7D-78DADD695CB6}" destId="{E0CA4CE8-DF13-4590-987B-E1F14878D0D0}" srcOrd="0" destOrd="0" presId="urn:microsoft.com/office/officeart/2005/8/layout/hierarchy3"/>
    <dgm:cxn modelId="{99DC1F7E-C1AC-40E0-92D6-0FA85CBCEC18}" type="presOf" srcId="{145DC95C-343A-4833-828F-640ECE557A3C}" destId="{514CCD24-1E2C-453D-BF22-88DF87AF73A9}" srcOrd="0" destOrd="0" presId="urn:microsoft.com/office/officeart/2005/8/layout/hierarchy3"/>
    <dgm:cxn modelId="{3032BF7E-E1AB-48F1-9E15-20303050AC7E}" type="presOf" srcId="{B025C224-6AB6-4DA0-9D7C-A18572E7C3E7}" destId="{DA1E3552-3CB3-4CD8-8A5E-E9128AFBAF32}" srcOrd="0" destOrd="0" presId="urn:microsoft.com/office/officeart/2005/8/layout/hierarchy3"/>
    <dgm:cxn modelId="{E6512D42-E6E4-4A49-AA36-F146703C69EF}" srcId="{C1FBEED3-01B1-46F3-B957-C11B257F1AE3}" destId="{8746147D-8DC9-41D2-AF76-E3393A23BB17}" srcOrd="2" destOrd="0" parTransId="{9A0210E9-5A8C-4027-B606-6E0EAF96BFF0}" sibTransId="{0699C35D-9DBD-493E-9B35-13B32D239E2E}"/>
    <dgm:cxn modelId="{771048F8-E9C8-47C5-8E0B-30C6C3E97A41}" srcId="{CF0A68FE-74EF-4AA2-9ED9-7B01612DF642}" destId="{2734CC2E-851E-4C8A-AD0D-683909B9569F}" srcOrd="1" destOrd="0" parTransId="{FFDDB0D2-5FB1-48A8-B604-54515B928839}" sibTransId="{F2C0A5FA-0B8C-4D7C-AB9B-CB7F02674230}"/>
    <dgm:cxn modelId="{194D2862-156A-4EBA-ABD7-59B286E46E59}" type="presOf" srcId="{CF0A68FE-74EF-4AA2-9ED9-7B01612DF642}" destId="{2F95051D-7999-4B57-B62B-0A8E93ED2CF3}" srcOrd="1" destOrd="0" presId="urn:microsoft.com/office/officeart/2005/8/layout/hierarchy3"/>
    <dgm:cxn modelId="{E117859B-F120-442C-BC7D-AFBF60FF4C09}" type="presOf" srcId="{D25524BB-BA01-4625-A17E-1375E25926A9}" destId="{AF282591-F9D6-4D71-87B7-F071E96D36ED}" srcOrd="0" destOrd="0" presId="urn:microsoft.com/office/officeart/2005/8/layout/hierarchy3"/>
    <dgm:cxn modelId="{53A56883-748A-49D5-9EF6-14C90CE708C1}" type="presOf" srcId="{7642F327-1072-4DD7-8085-E4BEF0F7CEF6}" destId="{A094DAF6-161A-48A6-B978-DABD7441AB19}" srcOrd="0" destOrd="0" presId="urn:microsoft.com/office/officeart/2005/8/layout/hierarchy3"/>
    <dgm:cxn modelId="{13F4644E-10ED-4805-B888-2D390D2C9B73}" type="presOf" srcId="{79272D6E-260D-4233-BB8C-2615A79B2370}" destId="{2BC3C2DE-9EAD-4869-A336-94FDD377E048}" srcOrd="0" destOrd="0" presId="urn:microsoft.com/office/officeart/2005/8/layout/hierarchy3"/>
    <dgm:cxn modelId="{9488A6F3-A97B-4440-8CCF-1D1C8498DB65}" srcId="{CF0A68FE-74EF-4AA2-9ED9-7B01612DF642}" destId="{F9B2E840-DE88-441B-8F8F-A2DE66ED0633}" srcOrd="2" destOrd="0" parTransId="{9521B682-538C-4B7C-8D37-8F635E3CEDCF}" sibTransId="{C0B8BDFE-6B71-412F-87BA-AE560DB88854}"/>
    <dgm:cxn modelId="{6E02D67F-096F-4FBD-9ADD-F1F4D7C35A0A}" type="presOf" srcId="{9A2BBAB2-C159-4901-841E-042B80A8B630}" destId="{B3A7663D-4801-4EEA-BC36-9D7BE3DC1324}" srcOrd="0" destOrd="0" presId="urn:microsoft.com/office/officeart/2005/8/layout/hierarchy3"/>
    <dgm:cxn modelId="{E09D209A-F532-444B-B9A7-777C8DFE563A}" type="presOf" srcId="{C56710DF-7A83-4F98-B90E-671C2AA7E0FD}" destId="{EF2D5B3F-8873-4D01-A72A-E045084A3BEB}" srcOrd="0" destOrd="0" presId="urn:microsoft.com/office/officeart/2005/8/layout/hierarchy3"/>
    <dgm:cxn modelId="{A44D347E-C33C-45C1-B6D0-957F6A080E33}" type="presOf" srcId="{9521B682-538C-4B7C-8D37-8F635E3CEDCF}" destId="{2090B7D8-B3E0-4B2F-AFC1-6E82D4E32AFB}" srcOrd="0" destOrd="0" presId="urn:microsoft.com/office/officeart/2005/8/layout/hierarchy3"/>
    <dgm:cxn modelId="{B26BC062-8BF4-4370-8611-8B5A4506ABD2}" type="presOf" srcId="{CF0A68FE-74EF-4AA2-9ED9-7B01612DF642}" destId="{7A36CD1C-4CDD-455D-9997-CCE8CF7F334A}" srcOrd="0" destOrd="0" presId="urn:microsoft.com/office/officeart/2005/8/layout/hierarchy3"/>
    <dgm:cxn modelId="{5E86D010-5A1C-49FC-8919-E63C3A0F4C8E}" srcId="{F9BDD195-9873-4859-9E5A-366D4086EBC9}" destId="{D2883BF8-8F9D-4EA2-8AF4-AD8BBBA155D8}" srcOrd="2" destOrd="0" parTransId="{0076D393-258B-411F-9E1B-45EEB92551EE}" sibTransId="{091B76C2-98AD-4FDC-9433-2E707496C7E7}"/>
    <dgm:cxn modelId="{A0992136-E705-48C0-840D-27FD58FB9299}" srcId="{8746147D-8DC9-41D2-AF76-E3393A23BB17}" destId="{B025C224-6AB6-4DA0-9D7C-A18572E7C3E7}" srcOrd="3" destOrd="0" parTransId="{0584F9A7-3B88-4429-B30D-6B7D69D8BF3E}" sibTransId="{3520BF3D-E159-4622-8A4E-105E1C511458}"/>
    <dgm:cxn modelId="{EC157DF8-E89D-4A45-9278-06DB2F1450CA}" type="presOf" srcId="{F9B2E840-DE88-441B-8F8F-A2DE66ED0633}" destId="{52FB85B1-0560-4612-929C-E666117661C5}" srcOrd="0" destOrd="0" presId="urn:microsoft.com/office/officeart/2005/8/layout/hierarchy3"/>
    <dgm:cxn modelId="{5BF398A0-058D-45EC-9DA7-A3E480D3AB2A}" type="presOf" srcId="{2734CC2E-851E-4C8A-AD0D-683909B9569F}" destId="{C498833A-40BB-462F-8173-10509195D56C}" srcOrd="0" destOrd="0" presId="urn:microsoft.com/office/officeart/2005/8/layout/hierarchy3"/>
    <dgm:cxn modelId="{8AB68A93-B2B5-4DCA-A0F0-18BB97028613}" type="presOf" srcId="{1DCA5167-A940-4F7B-9438-7F81018BACA0}" destId="{80AEAD2E-F332-49ED-B347-BB757F2051EC}" srcOrd="0" destOrd="0" presId="urn:microsoft.com/office/officeart/2005/8/layout/hierarchy3"/>
    <dgm:cxn modelId="{A144311C-97BA-4D66-AB77-A3C1B7F4B5C4}" type="presOf" srcId="{F9BDD195-9873-4859-9E5A-366D4086EBC9}" destId="{153432B2-7305-4E7F-98B3-29ECE0996D08}" srcOrd="1" destOrd="0" presId="urn:microsoft.com/office/officeart/2005/8/layout/hierarchy3"/>
    <dgm:cxn modelId="{62AA0487-2D89-4D4B-A50C-5AB9CC779B4D}" type="presOf" srcId="{DCC9AE9E-E07F-4170-A9FA-84A7499D7727}" destId="{553F0568-A673-45CB-95BE-4F77D8A4A58F}" srcOrd="0" destOrd="0" presId="urn:microsoft.com/office/officeart/2005/8/layout/hierarchy3"/>
    <dgm:cxn modelId="{8E495BEA-8F07-406D-9AF3-1636B8E20C82}" type="presOf" srcId="{19776E37-EBC8-420B-8C42-4ADFECCD7262}" destId="{425CC0D6-A987-4F3E-A514-4EB36E1C05A6}" srcOrd="0" destOrd="0" presId="urn:microsoft.com/office/officeart/2005/8/layout/hierarchy3"/>
    <dgm:cxn modelId="{D5888B3A-E099-4579-B4A9-F84FCE1EF33D}" type="presOf" srcId="{0076D393-258B-411F-9E1B-45EEB92551EE}" destId="{ED8356AA-4FF3-4C94-86D4-33D7492D9366}" srcOrd="0" destOrd="0" presId="urn:microsoft.com/office/officeart/2005/8/layout/hierarchy3"/>
    <dgm:cxn modelId="{8879D102-A6D4-4E74-A1A5-52BEE2B885FA}" srcId="{C1FBEED3-01B1-46F3-B957-C11B257F1AE3}" destId="{CF0A68FE-74EF-4AA2-9ED9-7B01612DF642}" srcOrd="0" destOrd="0" parTransId="{E64A07B7-C90A-445E-93B5-B45E2BB98F9F}" sibTransId="{5AEAF890-6343-43D3-833D-446C267EA1E1}"/>
    <dgm:cxn modelId="{2FCEB088-16D6-47CC-8CDA-D10E0FE24B49}" srcId="{8746147D-8DC9-41D2-AF76-E3393A23BB17}" destId="{79272D6E-260D-4233-BB8C-2615A79B2370}" srcOrd="2" destOrd="0" parTransId="{DCC9AE9E-E07F-4170-A9FA-84A7499D7727}" sibTransId="{071D1648-D77A-43D6-BA13-C7FC8C12C3C7}"/>
    <dgm:cxn modelId="{2B017049-8ADD-45A9-9B7E-A0C9C69BEB8B}" type="presOf" srcId="{8746147D-8DC9-41D2-AF76-E3393A23BB17}" destId="{4A494DA0-FA72-44E1-902B-A8B74A7AFC5A}" srcOrd="1" destOrd="0" presId="urn:microsoft.com/office/officeart/2005/8/layout/hierarchy3"/>
    <dgm:cxn modelId="{AB62E428-39A2-46A4-99FA-8D40829DEA56}" srcId="{F9BDD195-9873-4859-9E5A-366D4086EBC9}" destId="{F37EA4B3-B179-4A1E-8903-25972DA5E959}" srcOrd="1" destOrd="0" parTransId="{0B252B1E-5D95-4ADA-85A1-383A472B6801}" sibTransId="{2D63E125-422D-4331-9961-069DD95A0569}"/>
    <dgm:cxn modelId="{D6EA330C-0FB0-4C7F-9733-5D35EC6E5843}" type="presOf" srcId="{FFDDB0D2-5FB1-48A8-B604-54515B928839}" destId="{7EDB7E69-381A-499F-BF32-533698ED6D9E}" srcOrd="0" destOrd="0" presId="urn:microsoft.com/office/officeart/2005/8/layout/hierarchy3"/>
    <dgm:cxn modelId="{594C592D-E613-40FC-A690-DF62E0FBC905}" srcId="{8746147D-8DC9-41D2-AF76-E3393A23BB17}" destId="{9A2BBAB2-C159-4901-841E-042B80A8B630}" srcOrd="1" destOrd="0" parTransId="{DC38496F-F34A-4653-960F-5BF8B21424EF}" sibTransId="{68EB307C-59AE-429F-9E36-04ACDA9A891E}"/>
    <dgm:cxn modelId="{0BD60C49-696D-4DD2-8E01-FE8A12F4326A}" type="presOf" srcId="{F9BDD195-9873-4859-9E5A-366D4086EBC9}" destId="{7B33427B-A5D7-45FA-9C9F-3604B9916F97}" srcOrd="0" destOrd="0" presId="urn:microsoft.com/office/officeart/2005/8/layout/hierarchy3"/>
    <dgm:cxn modelId="{8D50B8C6-C59D-4809-B6C7-D2A414E53476}" srcId="{CF0A68FE-74EF-4AA2-9ED9-7B01612DF642}" destId="{C56710DF-7A83-4F98-B90E-671C2AA7E0FD}" srcOrd="3" destOrd="0" parTransId="{ADB013F8-898F-4BBA-9FDB-6B9AEDAC8C5C}" sibTransId="{2006F637-53B8-4FE9-8CE1-A388B5E2D5B6}"/>
    <dgm:cxn modelId="{77E5B836-E302-4B03-8D9D-321D20563789}" srcId="{CF0A68FE-74EF-4AA2-9ED9-7B01612DF642}" destId="{19776E37-EBC8-420B-8C42-4ADFECCD7262}" srcOrd="0" destOrd="0" parTransId="{A3E631B7-9209-4F79-8B7D-78DADD695CB6}" sibTransId="{1DFC8BA7-96D2-4B91-8AF1-67D585923E62}"/>
    <dgm:cxn modelId="{C0E3A0CB-9180-4709-9059-763212A3E9A9}" type="presOf" srcId="{0584F9A7-3B88-4429-B30D-6B7D69D8BF3E}" destId="{EAAB32A4-E0E6-4BA2-921B-10C63878908B}" srcOrd="0" destOrd="0" presId="urn:microsoft.com/office/officeart/2005/8/layout/hierarchy3"/>
    <dgm:cxn modelId="{59341204-84A7-49A8-B95D-4B6AAB2309D6}" srcId="{F9BDD195-9873-4859-9E5A-366D4086EBC9}" destId="{06866570-9937-4602-80F8-51DB56C03E75}" srcOrd="0" destOrd="0" parTransId="{B784CD62-3076-425C-B3D6-396E8EFD4C85}" sibTransId="{9AEED5E1-2059-4EC2-ABAD-2BA2880E5ED4}"/>
    <dgm:cxn modelId="{A471BC58-013B-4DA0-AFF6-D8784BCDD3E2}" srcId="{8746147D-8DC9-41D2-AF76-E3393A23BB17}" destId="{145DC95C-343A-4833-828F-640ECE557A3C}" srcOrd="0" destOrd="0" parTransId="{1DCA5167-A940-4F7B-9438-7F81018BACA0}" sibTransId="{08A4C67C-F3AE-41D6-BE38-3A89DDEFAEBD}"/>
    <dgm:cxn modelId="{ADC6D355-F770-4D2A-824F-014657A94E4C}" type="presOf" srcId="{F37EA4B3-B179-4A1E-8903-25972DA5E959}" destId="{33080A38-A292-49F0-8CAD-FD2C02E715E4}" srcOrd="0" destOrd="0" presId="urn:microsoft.com/office/officeart/2005/8/layout/hierarchy3"/>
    <dgm:cxn modelId="{13B642C2-4BD4-411D-811C-5B45C02BD5FB}" type="presOf" srcId="{ADB013F8-898F-4BBA-9FDB-6B9AEDAC8C5C}" destId="{231CFEE3-EF12-4482-A39F-04BAC3EAFDD4}" srcOrd="0" destOrd="0" presId="urn:microsoft.com/office/officeart/2005/8/layout/hierarchy3"/>
    <dgm:cxn modelId="{E8F6AF90-5DA8-474E-A160-51A8198C96DB}" type="presOf" srcId="{06866570-9937-4602-80F8-51DB56C03E75}" destId="{1D40BAC0-730F-468C-A268-4CE337B40F55}" srcOrd="0" destOrd="0" presId="urn:microsoft.com/office/officeart/2005/8/layout/hierarchy3"/>
    <dgm:cxn modelId="{0C70EFBF-9573-41BE-AD10-34E250B8FE5D}" type="presParOf" srcId="{9B7985EC-B0EF-4343-B642-77C28343B400}" destId="{E0EA4377-9324-445C-BE79-82DCA49297B7}" srcOrd="0" destOrd="0" presId="urn:microsoft.com/office/officeart/2005/8/layout/hierarchy3"/>
    <dgm:cxn modelId="{ACE835E5-2F53-425B-B255-864C8DF741BA}" type="presParOf" srcId="{E0EA4377-9324-445C-BE79-82DCA49297B7}" destId="{B65F52D6-B171-48CC-A37C-D69CDDA68680}" srcOrd="0" destOrd="0" presId="urn:microsoft.com/office/officeart/2005/8/layout/hierarchy3"/>
    <dgm:cxn modelId="{A33953A2-6C8B-4F59-BD7E-EAE9E3213E72}" type="presParOf" srcId="{B65F52D6-B171-48CC-A37C-D69CDDA68680}" destId="{7A36CD1C-4CDD-455D-9997-CCE8CF7F334A}" srcOrd="0" destOrd="0" presId="urn:microsoft.com/office/officeart/2005/8/layout/hierarchy3"/>
    <dgm:cxn modelId="{03ACE68B-31D4-4F4E-B6C5-3B506DCD2F2A}" type="presParOf" srcId="{B65F52D6-B171-48CC-A37C-D69CDDA68680}" destId="{2F95051D-7999-4B57-B62B-0A8E93ED2CF3}" srcOrd="1" destOrd="0" presId="urn:microsoft.com/office/officeart/2005/8/layout/hierarchy3"/>
    <dgm:cxn modelId="{A6F499B2-02F0-4B07-9BEC-30779B4B07E3}" type="presParOf" srcId="{E0EA4377-9324-445C-BE79-82DCA49297B7}" destId="{90052C28-923F-4976-8A30-1CBD34BA8232}" srcOrd="1" destOrd="0" presId="urn:microsoft.com/office/officeart/2005/8/layout/hierarchy3"/>
    <dgm:cxn modelId="{F5BD03E9-7EE5-4535-B182-5D33D74254B8}" type="presParOf" srcId="{90052C28-923F-4976-8A30-1CBD34BA8232}" destId="{E0CA4CE8-DF13-4590-987B-E1F14878D0D0}" srcOrd="0" destOrd="0" presId="urn:microsoft.com/office/officeart/2005/8/layout/hierarchy3"/>
    <dgm:cxn modelId="{79E69017-023E-472A-BF2A-7C69B5D19DD4}" type="presParOf" srcId="{90052C28-923F-4976-8A30-1CBD34BA8232}" destId="{425CC0D6-A987-4F3E-A514-4EB36E1C05A6}" srcOrd="1" destOrd="0" presId="urn:microsoft.com/office/officeart/2005/8/layout/hierarchy3"/>
    <dgm:cxn modelId="{CB7E9E8D-3321-4113-9E5D-C75F2359B7F9}" type="presParOf" srcId="{90052C28-923F-4976-8A30-1CBD34BA8232}" destId="{7EDB7E69-381A-499F-BF32-533698ED6D9E}" srcOrd="2" destOrd="0" presId="urn:microsoft.com/office/officeart/2005/8/layout/hierarchy3"/>
    <dgm:cxn modelId="{EE5300F4-1BDF-4E68-822E-6DD9788F9937}" type="presParOf" srcId="{90052C28-923F-4976-8A30-1CBD34BA8232}" destId="{C498833A-40BB-462F-8173-10509195D56C}" srcOrd="3" destOrd="0" presId="urn:microsoft.com/office/officeart/2005/8/layout/hierarchy3"/>
    <dgm:cxn modelId="{0C9B011D-A094-424C-8B00-2F5713B7A02B}" type="presParOf" srcId="{90052C28-923F-4976-8A30-1CBD34BA8232}" destId="{2090B7D8-B3E0-4B2F-AFC1-6E82D4E32AFB}" srcOrd="4" destOrd="0" presId="urn:microsoft.com/office/officeart/2005/8/layout/hierarchy3"/>
    <dgm:cxn modelId="{2B495A6A-A81F-41D3-B110-46F9F4244C87}" type="presParOf" srcId="{90052C28-923F-4976-8A30-1CBD34BA8232}" destId="{52FB85B1-0560-4612-929C-E666117661C5}" srcOrd="5" destOrd="0" presId="urn:microsoft.com/office/officeart/2005/8/layout/hierarchy3"/>
    <dgm:cxn modelId="{53F3B192-3BEF-41BF-BD84-E68BDA4AF49F}" type="presParOf" srcId="{90052C28-923F-4976-8A30-1CBD34BA8232}" destId="{231CFEE3-EF12-4482-A39F-04BAC3EAFDD4}" srcOrd="6" destOrd="0" presId="urn:microsoft.com/office/officeart/2005/8/layout/hierarchy3"/>
    <dgm:cxn modelId="{D7080EDF-3A19-4E87-9FA8-2A64B27980DB}" type="presParOf" srcId="{90052C28-923F-4976-8A30-1CBD34BA8232}" destId="{EF2D5B3F-8873-4D01-A72A-E045084A3BEB}" srcOrd="7" destOrd="0" presId="urn:microsoft.com/office/officeart/2005/8/layout/hierarchy3"/>
    <dgm:cxn modelId="{1D7794DC-C1E2-48EF-8FD1-032D7865F718}" type="presParOf" srcId="{9B7985EC-B0EF-4343-B642-77C28343B400}" destId="{98A096D9-1EFA-44CE-ABCA-781100FE0571}" srcOrd="1" destOrd="0" presId="urn:microsoft.com/office/officeart/2005/8/layout/hierarchy3"/>
    <dgm:cxn modelId="{66BB1FFB-C76E-4D81-8C14-9B8454F875A6}" type="presParOf" srcId="{98A096D9-1EFA-44CE-ABCA-781100FE0571}" destId="{C19C8F78-A25C-447B-AB15-580F4CDF29EF}" srcOrd="0" destOrd="0" presId="urn:microsoft.com/office/officeart/2005/8/layout/hierarchy3"/>
    <dgm:cxn modelId="{29C58EA3-C05A-4624-A0C4-BB4B18983B79}" type="presParOf" srcId="{C19C8F78-A25C-447B-AB15-580F4CDF29EF}" destId="{7B33427B-A5D7-45FA-9C9F-3604B9916F97}" srcOrd="0" destOrd="0" presId="urn:microsoft.com/office/officeart/2005/8/layout/hierarchy3"/>
    <dgm:cxn modelId="{89D4B2D0-FB60-42D5-BBF3-FEB739936405}" type="presParOf" srcId="{C19C8F78-A25C-447B-AB15-580F4CDF29EF}" destId="{153432B2-7305-4E7F-98B3-29ECE0996D08}" srcOrd="1" destOrd="0" presId="urn:microsoft.com/office/officeart/2005/8/layout/hierarchy3"/>
    <dgm:cxn modelId="{3E2FCE03-92DD-45D5-A3CD-5350058DC223}" type="presParOf" srcId="{98A096D9-1EFA-44CE-ABCA-781100FE0571}" destId="{8D01CE45-FB71-4B2F-8080-03B1F5F4DEB5}" srcOrd="1" destOrd="0" presId="urn:microsoft.com/office/officeart/2005/8/layout/hierarchy3"/>
    <dgm:cxn modelId="{7CBD6718-1FE7-41CE-A369-37EF080E2E84}" type="presParOf" srcId="{8D01CE45-FB71-4B2F-8080-03B1F5F4DEB5}" destId="{84099D88-DA45-493B-BC00-2EF75A9E221B}" srcOrd="0" destOrd="0" presId="urn:microsoft.com/office/officeart/2005/8/layout/hierarchy3"/>
    <dgm:cxn modelId="{24F787EE-E571-49DE-91BC-E8EDFF219B79}" type="presParOf" srcId="{8D01CE45-FB71-4B2F-8080-03B1F5F4DEB5}" destId="{1D40BAC0-730F-468C-A268-4CE337B40F55}" srcOrd="1" destOrd="0" presId="urn:microsoft.com/office/officeart/2005/8/layout/hierarchy3"/>
    <dgm:cxn modelId="{6D9FADDD-1913-4112-B58C-32FF23FFC92B}" type="presParOf" srcId="{8D01CE45-FB71-4B2F-8080-03B1F5F4DEB5}" destId="{34327BF4-1CE4-4EC1-B596-37CE9AA885DB}" srcOrd="2" destOrd="0" presId="urn:microsoft.com/office/officeart/2005/8/layout/hierarchy3"/>
    <dgm:cxn modelId="{6E5D086C-D5FE-4AF7-857F-FA8647C6F78D}" type="presParOf" srcId="{8D01CE45-FB71-4B2F-8080-03B1F5F4DEB5}" destId="{33080A38-A292-49F0-8CAD-FD2C02E715E4}" srcOrd="3" destOrd="0" presId="urn:microsoft.com/office/officeart/2005/8/layout/hierarchy3"/>
    <dgm:cxn modelId="{58D863D7-A5B6-4C24-8D96-5085529C7FF8}" type="presParOf" srcId="{8D01CE45-FB71-4B2F-8080-03B1F5F4DEB5}" destId="{ED8356AA-4FF3-4C94-86D4-33D7492D9366}" srcOrd="4" destOrd="0" presId="urn:microsoft.com/office/officeart/2005/8/layout/hierarchy3"/>
    <dgm:cxn modelId="{C94180D2-80A7-4088-A770-D9ECDBC7478C}" type="presParOf" srcId="{8D01CE45-FB71-4B2F-8080-03B1F5F4DEB5}" destId="{A9500BED-E339-42BC-86E0-49507C8F2259}" srcOrd="5" destOrd="0" presId="urn:microsoft.com/office/officeart/2005/8/layout/hierarchy3"/>
    <dgm:cxn modelId="{68509F3C-701A-4106-8E9F-B735763B4098}" type="presParOf" srcId="{8D01CE45-FB71-4B2F-8080-03B1F5F4DEB5}" destId="{A094DAF6-161A-48A6-B978-DABD7441AB19}" srcOrd="6" destOrd="0" presId="urn:microsoft.com/office/officeart/2005/8/layout/hierarchy3"/>
    <dgm:cxn modelId="{4ECC78DA-CC4A-481B-B938-8C294CB3DA8A}" type="presParOf" srcId="{8D01CE45-FB71-4B2F-8080-03B1F5F4DEB5}" destId="{AF282591-F9D6-4D71-87B7-F071E96D36ED}" srcOrd="7" destOrd="0" presId="urn:microsoft.com/office/officeart/2005/8/layout/hierarchy3"/>
    <dgm:cxn modelId="{9DC4A795-D9A9-4EE3-B619-C85CA1EB4E29}" type="presParOf" srcId="{9B7985EC-B0EF-4343-B642-77C28343B400}" destId="{B5D23DC3-E02C-43C3-AF6A-33F3523254CB}" srcOrd="2" destOrd="0" presId="urn:microsoft.com/office/officeart/2005/8/layout/hierarchy3"/>
    <dgm:cxn modelId="{C4AEAED7-3407-496E-958C-A096F831148D}" type="presParOf" srcId="{B5D23DC3-E02C-43C3-AF6A-33F3523254CB}" destId="{4C2EB443-896C-4637-8823-9D5A5242112F}" srcOrd="0" destOrd="0" presId="urn:microsoft.com/office/officeart/2005/8/layout/hierarchy3"/>
    <dgm:cxn modelId="{C9A1CEEF-8199-4415-9364-403D4398BCF1}" type="presParOf" srcId="{4C2EB443-896C-4637-8823-9D5A5242112F}" destId="{4A1F2038-FA57-4AC2-8252-3ACCDA100695}" srcOrd="0" destOrd="0" presId="urn:microsoft.com/office/officeart/2005/8/layout/hierarchy3"/>
    <dgm:cxn modelId="{CB0C7CB3-CB37-44ED-9C3B-1429E166DF2D}" type="presParOf" srcId="{4C2EB443-896C-4637-8823-9D5A5242112F}" destId="{4A494DA0-FA72-44E1-902B-A8B74A7AFC5A}" srcOrd="1" destOrd="0" presId="urn:microsoft.com/office/officeart/2005/8/layout/hierarchy3"/>
    <dgm:cxn modelId="{7D15D0E8-ED5B-485D-B526-EBC74BEFC5F9}" type="presParOf" srcId="{B5D23DC3-E02C-43C3-AF6A-33F3523254CB}" destId="{B1CED59B-0E8C-4780-AF03-6A8D8134D1DC}" srcOrd="1" destOrd="0" presId="urn:microsoft.com/office/officeart/2005/8/layout/hierarchy3"/>
    <dgm:cxn modelId="{76C40AD9-A901-458F-853C-8FA5CD305F3E}" type="presParOf" srcId="{B1CED59B-0E8C-4780-AF03-6A8D8134D1DC}" destId="{80AEAD2E-F332-49ED-B347-BB757F2051EC}" srcOrd="0" destOrd="0" presId="urn:microsoft.com/office/officeart/2005/8/layout/hierarchy3"/>
    <dgm:cxn modelId="{0B32C2A5-5B97-4939-81AE-890C417A79A4}" type="presParOf" srcId="{B1CED59B-0E8C-4780-AF03-6A8D8134D1DC}" destId="{514CCD24-1E2C-453D-BF22-88DF87AF73A9}" srcOrd="1" destOrd="0" presId="urn:microsoft.com/office/officeart/2005/8/layout/hierarchy3"/>
    <dgm:cxn modelId="{34BE6ECE-64FA-414E-B151-539CD11B606E}" type="presParOf" srcId="{B1CED59B-0E8C-4780-AF03-6A8D8134D1DC}" destId="{AC4AE9B6-DFD3-48C1-9A53-5B6F93D311A8}" srcOrd="2" destOrd="0" presId="urn:microsoft.com/office/officeart/2005/8/layout/hierarchy3"/>
    <dgm:cxn modelId="{F3E8BA79-D68C-4448-AB6E-0144CAE6AA06}" type="presParOf" srcId="{B1CED59B-0E8C-4780-AF03-6A8D8134D1DC}" destId="{B3A7663D-4801-4EEA-BC36-9D7BE3DC1324}" srcOrd="3" destOrd="0" presId="urn:microsoft.com/office/officeart/2005/8/layout/hierarchy3"/>
    <dgm:cxn modelId="{810E8610-6DC4-47BE-BDA3-0CF3252B4543}" type="presParOf" srcId="{B1CED59B-0E8C-4780-AF03-6A8D8134D1DC}" destId="{553F0568-A673-45CB-95BE-4F77D8A4A58F}" srcOrd="4" destOrd="0" presId="urn:microsoft.com/office/officeart/2005/8/layout/hierarchy3"/>
    <dgm:cxn modelId="{E2CC799A-31B0-4840-B216-26456BBE377D}" type="presParOf" srcId="{B1CED59B-0E8C-4780-AF03-6A8D8134D1DC}" destId="{2BC3C2DE-9EAD-4869-A336-94FDD377E048}" srcOrd="5" destOrd="0" presId="urn:microsoft.com/office/officeart/2005/8/layout/hierarchy3"/>
    <dgm:cxn modelId="{7CD7047C-EDB4-4548-8FB4-A9175B7E6650}" type="presParOf" srcId="{B1CED59B-0E8C-4780-AF03-6A8D8134D1DC}" destId="{EAAB32A4-E0E6-4BA2-921B-10C63878908B}" srcOrd="6" destOrd="0" presId="urn:microsoft.com/office/officeart/2005/8/layout/hierarchy3"/>
    <dgm:cxn modelId="{7BD17491-387F-462C-8B3D-0225A13F1BF3}" type="presParOf" srcId="{B1CED59B-0E8C-4780-AF03-6A8D8134D1DC}" destId="{DA1E3552-3CB3-4CD8-8A5E-E9128AFBAF32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1FBEED3-01B1-46F3-B957-C11B257F1AE3}" type="doc">
      <dgm:prSet loTypeId="urn:microsoft.com/office/officeart/2005/8/layout/hierarchy3" loCatId="hierarchy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CF0A68FE-74EF-4AA2-9ED9-7B01612DF642}">
      <dgm:prSet phldrT="[Texto]" custT="1"/>
      <dgm:spPr>
        <a:solidFill>
          <a:srgbClr val="009999"/>
        </a:solidFill>
      </dgm:spPr>
      <dgm:t>
        <a:bodyPr/>
        <a:lstStyle/>
        <a:p>
          <a:r>
            <a:rPr lang="es-CL" sz="2000" dirty="0"/>
            <a:t>EMERGENCIAS</a:t>
          </a:r>
        </a:p>
      </dgm:t>
    </dgm:pt>
    <dgm:pt modelId="{E64A07B7-C90A-445E-93B5-B45E2BB98F9F}" type="parTrans" cxnId="{8879D102-A6D4-4E74-A1A5-52BEE2B885FA}">
      <dgm:prSet/>
      <dgm:spPr/>
      <dgm:t>
        <a:bodyPr/>
        <a:lstStyle/>
        <a:p>
          <a:endParaRPr lang="es-CL"/>
        </a:p>
      </dgm:t>
    </dgm:pt>
    <dgm:pt modelId="{5AEAF890-6343-43D3-833D-446C267EA1E1}" type="sibTrans" cxnId="{8879D102-A6D4-4E74-A1A5-52BEE2B885FA}">
      <dgm:prSet/>
      <dgm:spPr/>
      <dgm:t>
        <a:bodyPr/>
        <a:lstStyle/>
        <a:p>
          <a:endParaRPr lang="es-CL"/>
        </a:p>
      </dgm:t>
    </dgm:pt>
    <dgm:pt modelId="{19776E37-EBC8-420B-8C42-4ADFECCD7262}">
      <dgm:prSet phldrT="[Texto]" custT="1"/>
      <dgm:spPr>
        <a:solidFill>
          <a:srgbClr val="D1F7EA">
            <a:alpha val="89804"/>
          </a:srgbClr>
        </a:solidFill>
        <a:ln>
          <a:solidFill>
            <a:srgbClr val="008080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>
            <a:lnSpc>
              <a:spcPct val="100000"/>
            </a:lnSpc>
          </a:pPr>
          <a:r>
            <a:rPr lang="es-CL" sz="1100" b="1" dirty="0">
              <a:solidFill>
                <a:srgbClr val="1B1B1B"/>
              </a:solidFill>
            </a:rPr>
            <a:t>Objetivo: </a:t>
          </a:r>
          <a:r>
            <a:rPr lang="es-CL" sz="1100" b="0" dirty="0">
              <a:solidFill>
                <a:srgbClr val="1B1B1B"/>
              </a:solidFill>
            </a:rPr>
            <a:t>Gestionar el registro y la respuesta ante los eventos de emergencia</a:t>
          </a:r>
        </a:p>
      </dgm:t>
    </dgm:pt>
    <dgm:pt modelId="{A3E631B7-9209-4F79-8B7D-78DADD695CB6}" type="parTrans" cxnId="{77E5B836-E302-4B03-8D9D-321D20563789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1DFC8BA7-96D2-4B91-8AF1-67D585923E62}" type="sibTrans" cxnId="{77E5B836-E302-4B03-8D9D-321D20563789}">
      <dgm:prSet/>
      <dgm:spPr/>
      <dgm:t>
        <a:bodyPr/>
        <a:lstStyle/>
        <a:p>
          <a:endParaRPr lang="es-CL"/>
        </a:p>
      </dgm:t>
    </dgm:pt>
    <dgm:pt modelId="{2734CC2E-851E-4C8A-AD0D-683909B9569F}">
      <dgm:prSet phldrT="[Texto]" custT="1"/>
      <dgm:spPr>
        <a:solidFill>
          <a:srgbClr val="D1F7EA">
            <a:alpha val="90000"/>
          </a:srgbClr>
        </a:solidFill>
        <a:ln>
          <a:solidFill>
            <a:srgbClr val="008080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  <a:latin typeface="+mn-lt"/>
            </a:rPr>
            <a:t>Cliente Interno: </a:t>
          </a:r>
        </a:p>
        <a:p>
          <a:pPr algn="l"/>
          <a:r>
            <a:rPr lang="es-CL" sz="1100" dirty="0" err="1">
              <a:solidFill>
                <a:srgbClr val="1B1B1B"/>
              </a:solidFill>
              <a:latin typeface="+mn-lt"/>
            </a:rPr>
            <a:t>SEREMIs</a:t>
          </a:r>
          <a:endParaRPr lang="es-CL" sz="1100" dirty="0">
            <a:solidFill>
              <a:srgbClr val="1B1B1B"/>
            </a:solidFill>
            <a:latin typeface="+mn-lt"/>
          </a:endParaRPr>
        </a:p>
        <a:p>
          <a:pPr algn="l"/>
          <a:r>
            <a:rPr lang="es-CL" sz="1100" dirty="0">
              <a:solidFill>
                <a:srgbClr val="1B1B1B"/>
              </a:solidFill>
              <a:latin typeface="+mn-lt"/>
            </a:rPr>
            <a:t>Servicio de Salud</a:t>
          </a:r>
        </a:p>
      </dgm:t>
    </dgm:pt>
    <dgm:pt modelId="{FFDDB0D2-5FB1-48A8-B604-54515B928839}" type="parTrans" cxnId="{771048F8-E9C8-47C5-8E0B-30C6C3E97A41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F2C0A5FA-0B8C-4D7C-AB9B-CB7F02674230}" type="sibTrans" cxnId="{771048F8-E9C8-47C5-8E0B-30C6C3E97A41}">
      <dgm:prSet/>
      <dgm:spPr/>
      <dgm:t>
        <a:bodyPr/>
        <a:lstStyle/>
        <a:p>
          <a:endParaRPr lang="es-CL"/>
        </a:p>
      </dgm:t>
    </dgm:pt>
    <dgm:pt modelId="{145DC95C-343A-4833-828F-640ECE557A3C}">
      <dgm:prSet phldrT="[Texto]" custT="1"/>
      <dgm:spPr>
        <a:solidFill>
          <a:srgbClr val="FFE2C5">
            <a:alpha val="89804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Objetivo: </a:t>
          </a:r>
          <a:r>
            <a:rPr lang="es-CL" sz="1100" b="0" dirty="0">
              <a:solidFill>
                <a:srgbClr val="1B1B1B"/>
              </a:solidFill>
            </a:rPr>
            <a:t>Gestionar el registro de denuncias de accidentes de trabajo y/o enfermedades profesionales</a:t>
          </a:r>
        </a:p>
      </dgm:t>
    </dgm:pt>
    <dgm:pt modelId="{1DCA5167-A940-4F7B-9438-7F81018BACA0}" type="parTrans" cxnId="{A471BC58-013B-4DA0-AFF6-D8784BCDD3E2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08A4C67C-F3AE-41D6-BE38-3A89DDEFAEBD}" type="sibTrans" cxnId="{A471BC58-013B-4DA0-AFF6-D8784BCDD3E2}">
      <dgm:prSet/>
      <dgm:spPr/>
      <dgm:t>
        <a:bodyPr/>
        <a:lstStyle/>
        <a:p>
          <a:endParaRPr lang="es-CL"/>
        </a:p>
      </dgm:t>
    </dgm:pt>
    <dgm:pt modelId="{9A2BBAB2-C159-4901-841E-042B80A8B630}">
      <dgm:prSet phldrT="[Texto]" custT="1"/>
      <dgm:spPr>
        <a:solidFill>
          <a:srgbClr val="FFE2C5">
            <a:alpha val="90000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  <a:latin typeface="+mn-lt"/>
            </a:rPr>
            <a:t>Cliente Interno</a:t>
          </a:r>
          <a:r>
            <a:rPr lang="es-CL" sz="1100" b="1" dirty="0" smtClean="0">
              <a:solidFill>
                <a:srgbClr val="1B1B1B"/>
              </a:solidFill>
              <a:latin typeface="+mn-lt"/>
            </a:rPr>
            <a:t>:</a:t>
          </a:r>
        </a:p>
        <a:p>
          <a:pPr algn="l"/>
          <a:r>
            <a:rPr lang="es-CL" sz="1100" b="0" dirty="0" err="1" smtClean="0">
              <a:solidFill>
                <a:srgbClr val="1B1B1B"/>
              </a:solidFill>
              <a:latin typeface="+mn-lt"/>
            </a:rPr>
            <a:t>SEREMIs</a:t>
          </a:r>
          <a:endParaRPr lang="es-CL" sz="1100" b="0" dirty="0" smtClean="0">
            <a:solidFill>
              <a:srgbClr val="1B1B1B"/>
            </a:solidFill>
            <a:latin typeface="+mn-lt"/>
          </a:endParaRPr>
        </a:p>
        <a:p>
          <a:pPr algn="l"/>
          <a:r>
            <a:rPr lang="es-CL" sz="1100" b="0" dirty="0" smtClean="0">
              <a:solidFill>
                <a:srgbClr val="1B1B1B"/>
              </a:solidFill>
              <a:latin typeface="+mn-lt"/>
            </a:rPr>
            <a:t>Servicio de Salud</a:t>
          </a:r>
        </a:p>
        <a:p>
          <a:pPr algn="l"/>
          <a:r>
            <a:rPr lang="es-CL" sz="1100" b="0" dirty="0" smtClean="0">
              <a:solidFill>
                <a:srgbClr val="1B1B1B"/>
              </a:solidFill>
              <a:latin typeface="+mn-lt"/>
            </a:rPr>
            <a:t>COMPIN</a:t>
          </a:r>
        </a:p>
        <a:p>
          <a:pPr algn="l"/>
          <a:r>
            <a:rPr lang="es-CL" sz="1100" b="0" dirty="0" smtClean="0">
              <a:solidFill>
                <a:srgbClr val="1B1B1B"/>
              </a:solidFill>
              <a:latin typeface="+mn-lt"/>
            </a:rPr>
            <a:t>ISL</a:t>
          </a:r>
          <a:r>
            <a:rPr lang="es-CL" sz="1100" b="1" dirty="0" smtClean="0">
              <a:solidFill>
                <a:srgbClr val="1B1B1B"/>
              </a:solidFill>
              <a:latin typeface="+mn-lt"/>
            </a:rPr>
            <a:t> </a:t>
          </a:r>
          <a:endParaRPr lang="es-CL" sz="1100" b="1" dirty="0">
            <a:solidFill>
              <a:srgbClr val="1B1B1B"/>
            </a:solidFill>
            <a:latin typeface="+mn-lt"/>
          </a:endParaRPr>
        </a:p>
        <a:p>
          <a:pPr algn="l"/>
          <a:r>
            <a:rPr lang="es-CL" sz="1100" b="1" dirty="0">
              <a:solidFill>
                <a:srgbClr val="1B1B1B"/>
              </a:solidFill>
              <a:latin typeface="+mn-lt"/>
            </a:rPr>
            <a:t>Cliente Externo</a:t>
          </a:r>
          <a:r>
            <a:rPr lang="es-CL" sz="1100" dirty="0" smtClean="0">
              <a:solidFill>
                <a:srgbClr val="1B1B1B"/>
              </a:solidFill>
              <a:latin typeface="+mn-lt"/>
            </a:rPr>
            <a:t>: Trabajadores  </a:t>
          </a:r>
          <a:endParaRPr lang="es-CL" sz="1100" dirty="0">
            <a:solidFill>
              <a:srgbClr val="1B1B1B"/>
            </a:solidFill>
            <a:latin typeface="+mn-lt"/>
          </a:endParaRPr>
        </a:p>
      </dgm:t>
    </dgm:pt>
    <dgm:pt modelId="{DC38496F-F34A-4653-960F-5BF8B21424EF}" type="parTrans" cxnId="{594C592D-E613-40FC-A690-DF62E0FBC905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68EB307C-59AE-429F-9E36-04ACDA9A891E}" type="sibTrans" cxnId="{594C592D-E613-40FC-A690-DF62E0FBC905}">
      <dgm:prSet/>
      <dgm:spPr/>
      <dgm:t>
        <a:bodyPr/>
        <a:lstStyle/>
        <a:p>
          <a:endParaRPr lang="es-CL"/>
        </a:p>
      </dgm:t>
    </dgm:pt>
    <dgm:pt modelId="{8746147D-8DC9-41D2-AF76-E3393A23BB17}">
      <dgm:prSet phldrT="[Texto]" custT="1"/>
      <dgm:spPr>
        <a:solidFill>
          <a:srgbClr val="FF9933"/>
        </a:solidFill>
      </dgm:spPr>
      <dgm:t>
        <a:bodyPr/>
        <a:lstStyle/>
        <a:p>
          <a:r>
            <a:rPr lang="es-CL" sz="2000" dirty="0"/>
            <a:t>SINAISO</a:t>
          </a:r>
        </a:p>
      </dgm:t>
    </dgm:pt>
    <dgm:pt modelId="{0699C35D-9DBD-493E-9B35-13B32D239E2E}" type="sibTrans" cxnId="{E6512D42-E6E4-4A49-AA36-F146703C69EF}">
      <dgm:prSet/>
      <dgm:spPr/>
      <dgm:t>
        <a:bodyPr/>
        <a:lstStyle/>
        <a:p>
          <a:endParaRPr lang="es-CL"/>
        </a:p>
      </dgm:t>
    </dgm:pt>
    <dgm:pt modelId="{9A0210E9-5A8C-4027-B606-6E0EAF96BFF0}" type="parTrans" cxnId="{E6512D42-E6E4-4A49-AA36-F146703C69EF}">
      <dgm:prSet/>
      <dgm:spPr/>
      <dgm:t>
        <a:bodyPr/>
        <a:lstStyle/>
        <a:p>
          <a:endParaRPr lang="es-CL"/>
        </a:p>
      </dgm:t>
    </dgm:pt>
    <dgm:pt modelId="{F9BDD195-9873-4859-9E5A-366D4086EBC9}">
      <dgm:prSet custT="1"/>
      <dgm:spPr>
        <a:solidFill>
          <a:srgbClr val="B233D5"/>
        </a:solidFill>
      </dgm:spPr>
      <dgm:t>
        <a:bodyPr/>
        <a:lstStyle/>
        <a:p>
          <a:r>
            <a:rPr lang="es-CL" sz="2000" dirty="0"/>
            <a:t>PROMOCIÓN</a:t>
          </a:r>
        </a:p>
      </dgm:t>
    </dgm:pt>
    <dgm:pt modelId="{A89CC6C9-14BA-401B-8443-BE2B227722C5}" type="parTrans" cxnId="{084421BF-DD3B-4890-9D87-C4E1D7C29747}">
      <dgm:prSet/>
      <dgm:spPr/>
      <dgm:t>
        <a:bodyPr/>
        <a:lstStyle/>
        <a:p>
          <a:endParaRPr lang="es-CL"/>
        </a:p>
      </dgm:t>
    </dgm:pt>
    <dgm:pt modelId="{99B011BA-4964-47D2-86CE-3546E15448AC}" type="sibTrans" cxnId="{084421BF-DD3B-4890-9D87-C4E1D7C29747}">
      <dgm:prSet/>
      <dgm:spPr/>
      <dgm:t>
        <a:bodyPr/>
        <a:lstStyle/>
        <a:p>
          <a:endParaRPr lang="es-CL"/>
        </a:p>
      </dgm:t>
    </dgm:pt>
    <dgm:pt modelId="{06866570-9937-4602-80F8-51DB56C03E75}">
      <dgm:prSet custT="1"/>
      <dgm:spPr>
        <a:solidFill>
          <a:srgbClr val="E7E7FF">
            <a:alpha val="89804"/>
          </a:srgbClr>
        </a:solidFill>
        <a:ln>
          <a:solidFill>
            <a:srgbClr val="770EB2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Objetivo: </a:t>
          </a:r>
          <a:r>
            <a:rPr lang="es-CL" sz="1100" b="0" dirty="0">
              <a:solidFill>
                <a:srgbClr val="1B1B1B"/>
              </a:solidFill>
            </a:rPr>
            <a:t>Acompañar y asistir a los municipios, en los procesos de los Planes Trienales de Salud</a:t>
          </a:r>
          <a:endParaRPr lang="es-CL" sz="2000" b="0" dirty="0">
            <a:solidFill>
              <a:srgbClr val="1B1B1B"/>
            </a:solidFill>
          </a:endParaRPr>
        </a:p>
      </dgm:t>
    </dgm:pt>
    <dgm:pt modelId="{B784CD62-3076-425C-B3D6-396E8EFD4C85}" type="parTrans" cxnId="{59341204-84A7-49A8-B95D-4B6AAB2309D6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9AEED5E1-2059-4EC2-ABAD-2BA2880E5ED4}" type="sibTrans" cxnId="{59341204-84A7-49A8-B95D-4B6AAB2309D6}">
      <dgm:prSet/>
      <dgm:spPr/>
      <dgm:t>
        <a:bodyPr/>
        <a:lstStyle/>
        <a:p>
          <a:endParaRPr lang="es-CL"/>
        </a:p>
      </dgm:t>
    </dgm:pt>
    <dgm:pt modelId="{F37EA4B3-B179-4A1E-8903-25972DA5E959}">
      <dgm:prSet custT="1"/>
      <dgm:spPr>
        <a:solidFill>
          <a:srgbClr val="E7E7FF">
            <a:alpha val="90000"/>
          </a:srgbClr>
        </a:solidFill>
        <a:ln>
          <a:solidFill>
            <a:srgbClr val="770EB2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endParaRPr lang="es-CL" sz="1100" b="1" dirty="0">
            <a:solidFill>
              <a:srgbClr val="1B1B1B"/>
            </a:solidFill>
            <a:latin typeface="+mn-lt"/>
          </a:endParaRPr>
        </a:p>
        <a:p>
          <a:pPr algn="l"/>
          <a:r>
            <a:rPr lang="es-CL" sz="1100" b="1" dirty="0">
              <a:solidFill>
                <a:srgbClr val="1B1B1B"/>
              </a:solidFill>
              <a:latin typeface="+mn-lt"/>
            </a:rPr>
            <a:t>Cliente Interno: </a:t>
          </a:r>
          <a:r>
            <a:rPr lang="es-CL" sz="1100" dirty="0" err="1">
              <a:solidFill>
                <a:srgbClr val="1B1B1B"/>
              </a:solidFill>
              <a:latin typeface="+mn-lt"/>
            </a:rPr>
            <a:t>SEREMIs</a:t>
          </a:r>
          <a:endParaRPr lang="es-CL" sz="1100" dirty="0">
            <a:solidFill>
              <a:srgbClr val="1B1B1B"/>
            </a:solidFill>
            <a:latin typeface="+mn-lt"/>
          </a:endParaRPr>
        </a:p>
        <a:p>
          <a:pPr algn="l"/>
          <a:r>
            <a:rPr lang="es-CL" sz="1100" b="1" dirty="0">
              <a:solidFill>
                <a:srgbClr val="1B1B1B"/>
              </a:solidFill>
              <a:latin typeface="+mn-lt"/>
            </a:rPr>
            <a:t>Cliente Externo</a:t>
          </a:r>
          <a:r>
            <a:rPr lang="es-CL" sz="1100" dirty="0">
              <a:solidFill>
                <a:srgbClr val="1B1B1B"/>
              </a:solidFill>
              <a:latin typeface="+mn-lt"/>
            </a:rPr>
            <a:t>: Municipalidades</a:t>
          </a:r>
        </a:p>
        <a:p>
          <a:pPr algn="l"/>
          <a:endParaRPr lang="es-CL" sz="1100" dirty="0">
            <a:solidFill>
              <a:schemeClr val="tx2">
                <a:lumMod val="75000"/>
              </a:schemeClr>
            </a:solidFill>
          </a:endParaRPr>
        </a:p>
      </dgm:t>
    </dgm:pt>
    <dgm:pt modelId="{0B252B1E-5D95-4ADA-85A1-383A472B6801}" type="parTrans" cxnId="{AB62E428-39A2-46A4-99FA-8D40829DEA56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2D63E125-422D-4331-9961-069DD95A0569}" type="sibTrans" cxnId="{AB62E428-39A2-46A4-99FA-8D40829DEA56}">
      <dgm:prSet/>
      <dgm:spPr/>
      <dgm:t>
        <a:bodyPr/>
        <a:lstStyle/>
        <a:p>
          <a:endParaRPr lang="es-CL"/>
        </a:p>
      </dgm:t>
    </dgm:pt>
    <dgm:pt modelId="{D2883BF8-8F9D-4EA2-8AF4-AD8BBBA155D8}">
      <dgm:prSet custT="1"/>
      <dgm:spPr>
        <a:solidFill>
          <a:srgbClr val="E7E7FF">
            <a:alpha val="90000"/>
          </a:srgbClr>
        </a:solidFill>
        <a:ln>
          <a:solidFill>
            <a:srgbClr val="770EB2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Referente: </a:t>
          </a:r>
        </a:p>
        <a:p>
          <a:pPr algn="l"/>
          <a:r>
            <a:rPr lang="es-CL" sz="1100" dirty="0">
              <a:solidFill>
                <a:srgbClr val="1B1B1B"/>
              </a:solidFill>
            </a:rPr>
            <a:t>Carolina Cobos (DIPOL)</a:t>
          </a:r>
        </a:p>
      </dgm:t>
    </dgm:pt>
    <dgm:pt modelId="{0076D393-258B-411F-9E1B-45EEB92551EE}" type="parTrans" cxnId="{5E86D010-5A1C-49FC-8919-E63C3A0F4C8E}">
      <dgm:prSet/>
      <dgm:spPr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endParaRPr lang="es-CL"/>
        </a:p>
      </dgm:t>
    </dgm:pt>
    <dgm:pt modelId="{091B76C2-98AD-4FDC-9433-2E707496C7E7}" type="sibTrans" cxnId="{5E86D010-5A1C-49FC-8919-E63C3A0F4C8E}">
      <dgm:prSet/>
      <dgm:spPr/>
      <dgm:t>
        <a:bodyPr/>
        <a:lstStyle/>
        <a:p>
          <a:endParaRPr lang="es-CL"/>
        </a:p>
      </dgm:t>
    </dgm:pt>
    <dgm:pt modelId="{F9B2E840-DE88-441B-8F8F-A2DE66ED0633}">
      <dgm:prSet custT="1"/>
      <dgm:spPr>
        <a:solidFill>
          <a:srgbClr val="D1F7EA">
            <a:alpha val="90000"/>
          </a:srgbClr>
        </a:solidFill>
        <a:ln>
          <a:solidFill>
            <a:srgbClr val="008080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Referente: </a:t>
          </a:r>
        </a:p>
        <a:p>
          <a:pPr algn="l"/>
          <a:r>
            <a:rPr lang="es-CL" sz="1100" dirty="0">
              <a:solidFill>
                <a:srgbClr val="1B1B1B"/>
              </a:solidFill>
            </a:rPr>
            <a:t>Felipe Zúñiga (DEGREYD)</a:t>
          </a:r>
        </a:p>
        <a:p>
          <a:pPr algn="l"/>
          <a:r>
            <a:rPr lang="es-CL" sz="1100" dirty="0">
              <a:solidFill>
                <a:srgbClr val="1B1B1B"/>
              </a:solidFill>
            </a:rPr>
            <a:t>Guido Martinez (DIPOL)</a:t>
          </a:r>
        </a:p>
      </dgm:t>
    </dgm:pt>
    <dgm:pt modelId="{9521B682-538C-4B7C-8D37-8F635E3CEDCF}" type="parTrans" cxnId="{9488A6F3-A97B-4440-8CCF-1D1C8498DB65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C0B8BDFE-6B71-412F-87BA-AE560DB88854}" type="sibTrans" cxnId="{9488A6F3-A97B-4440-8CCF-1D1C8498DB65}">
      <dgm:prSet/>
      <dgm:spPr/>
      <dgm:t>
        <a:bodyPr/>
        <a:lstStyle/>
        <a:p>
          <a:endParaRPr lang="es-CL"/>
        </a:p>
      </dgm:t>
    </dgm:pt>
    <dgm:pt modelId="{79272D6E-260D-4233-BB8C-2615A79B2370}">
      <dgm:prSet custT="1"/>
      <dgm:spPr>
        <a:solidFill>
          <a:srgbClr val="FFE2C5">
            <a:alpha val="90000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Referente:</a:t>
          </a:r>
        </a:p>
        <a:p>
          <a:pPr algn="l"/>
          <a:r>
            <a:rPr lang="es-CL" sz="1100" b="0" dirty="0">
              <a:solidFill>
                <a:srgbClr val="1B1B1B"/>
              </a:solidFill>
            </a:rPr>
            <a:t>Elisa </a:t>
          </a:r>
          <a:r>
            <a:rPr lang="es-CL" sz="1100" b="0" dirty="0" smtClean="0">
              <a:solidFill>
                <a:srgbClr val="1B1B1B"/>
              </a:solidFill>
            </a:rPr>
            <a:t>Donoso (Salud Ocupacional)</a:t>
          </a:r>
          <a:endParaRPr lang="es-CL" sz="1100" b="0" dirty="0">
            <a:solidFill>
              <a:srgbClr val="1B1B1B"/>
            </a:solidFill>
          </a:endParaRPr>
        </a:p>
      </dgm:t>
    </dgm:pt>
    <dgm:pt modelId="{DCC9AE9E-E07F-4170-A9FA-84A7499D7727}" type="parTrans" cxnId="{2FCEB088-16D6-47CC-8CDA-D10E0FE24B49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071D1648-D77A-43D6-BA13-C7FC8C12C3C7}" type="sibTrans" cxnId="{2FCEB088-16D6-47CC-8CDA-D10E0FE24B49}">
      <dgm:prSet/>
      <dgm:spPr/>
      <dgm:t>
        <a:bodyPr/>
        <a:lstStyle/>
        <a:p>
          <a:endParaRPr lang="es-CL"/>
        </a:p>
      </dgm:t>
    </dgm:pt>
    <dgm:pt modelId="{C56710DF-7A83-4F98-B90E-671C2AA7E0FD}">
      <dgm:prSet custT="1"/>
      <dgm:spPr>
        <a:solidFill>
          <a:srgbClr val="D1F7EA">
            <a:alpha val="90000"/>
          </a:srgbClr>
        </a:solidFill>
        <a:ln>
          <a:solidFill>
            <a:srgbClr val="008080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Impacto (+) </a:t>
          </a:r>
          <a:r>
            <a:rPr lang="es-CL" sz="1100" b="0" dirty="0">
              <a:solidFill>
                <a:srgbClr val="1B1B1B"/>
              </a:solidFill>
            </a:rPr>
            <a:t>Enfoque integral de la gestión del riesgo mediante nuevas tecnologías de información</a:t>
          </a:r>
        </a:p>
      </dgm:t>
    </dgm:pt>
    <dgm:pt modelId="{ADB013F8-898F-4BBA-9FDB-6B9AEDAC8C5C}" type="parTrans" cxnId="{8D50B8C6-C59D-4809-B6C7-D2A414E53476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2006F637-53B8-4FE9-8CE1-A388B5E2D5B6}" type="sibTrans" cxnId="{8D50B8C6-C59D-4809-B6C7-D2A414E53476}">
      <dgm:prSet/>
      <dgm:spPr/>
      <dgm:t>
        <a:bodyPr/>
        <a:lstStyle/>
        <a:p>
          <a:endParaRPr lang="es-CL"/>
        </a:p>
      </dgm:t>
    </dgm:pt>
    <dgm:pt modelId="{D25524BB-BA01-4625-A17E-1375E25926A9}">
      <dgm:prSet custT="1"/>
      <dgm:spPr>
        <a:solidFill>
          <a:srgbClr val="E7E7FF">
            <a:alpha val="90000"/>
          </a:srgbClr>
        </a:solidFill>
        <a:ln>
          <a:solidFill>
            <a:srgbClr val="770EB2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Impacto (+) </a:t>
          </a:r>
          <a:r>
            <a:rPr lang="es-CL" sz="1100" b="0" dirty="0">
              <a:solidFill>
                <a:srgbClr val="1B1B1B"/>
              </a:solidFill>
            </a:rPr>
            <a:t>Fomento de los cambios en los modos de vida y las condiciones del entorno para el desarrollo de una cultura de salud.</a:t>
          </a:r>
        </a:p>
      </dgm:t>
    </dgm:pt>
    <dgm:pt modelId="{7642F327-1072-4DD7-8085-E4BEF0F7CEF6}" type="parTrans" cxnId="{14FE2990-FBFB-4DD4-85C4-3C412A17E776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F0379A5C-83CD-400E-BCC1-D6666301BB20}" type="sibTrans" cxnId="{14FE2990-FBFB-4DD4-85C4-3C412A17E776}">
      <dgm:prSet/>
      <dgm:spPr/>
      <dgm:t>
        <a:bodyPr/>
        <a:lstStyle/>
        <a:p>
          <a:endParaRPr lang="es-CL"/>
        </a:p>
      </dgm:t>
    </dgm:pt>
    <dgm:pt modelId="{B025C224-6AB6-4DA0-9D7C-A18572E7C3E7}">
      <dgm:prSet custT="1"/>
      <dgm:spPr>
        <a:solidFill>
          <a:srgbClr val="FFE2C5">
            <a:alpha val="90000"/>
          </a:srgbClr>
        </a:solidFill>
        <a:ln>
          <a:solidFill>
            <a:srgbClr val="FF99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algn="l"/>
          <a:r>
            <a:rPr lang="es-CL" sz="1100" b="1" dirty="0">
              <a:solidFill>
                <a:srgbClr val="1B1B1B"/>
              </a:solidFill>
            </a:rPr>
            <a:t>Impacto </a:t>
          </a:r>
          <a:r>
            <a:rPr lang="es-CL" sz="1100" b="1" dirty="0" smtClean="0">
              <a:solidFill>
                <a:srgbClr val="1B1B1B"/>
              </a:solidFill>
            </a:rPr>
            <a:t>(+) </a:t>
          </a:r>
          <a:r>
            <a:rPr lang="es-CL" sz="1100" b="0" dirty="0" smtClean="0">
              <a:solidFill>
                <a:srgbClr val="1B1B1B"/>
              </a:solidFill>
            </a:rPr>
            <a:t>Identificación de responsables para evitar nueva ocurrencia. Evitar subvención estatal respecto a costos de OAL </a:t>
          </a:r>
          <a:endParaRPr lang="es-CL" sz="2400" b="0" dirty="0">
            <a:solidFill>
              <a:srgbClr val="1B1B1B"/>
            </a:solidFill>
          </a:endParaRPr>
        </a:p>
      </dgm:t>
    </dgm:pt>
    <dgm:pt modelId="{0584F9A7-3B88-4429-B30D-6B7D69D8BF3E}" type="parTrans" cxnId="{A0992136-E705-48C0-840D-27FD58FB9299}">
      <dgm:prSet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endParaRPr lang="es-CL"/>
        </a:p>
      </dgm:t>
    </dgm:pt>
    <dgm:pt modelId="{3520BF3D-E159-4622-8A4E-105E1C511458}" type="sibTrans" cxnId="{A0992136-E705-48C0-840D-27FD58FB9299}">
      <dgm:prSet/>
      <dgm:spPr/>
      <dgm:t>
        <a:bodyPr/>
        <a:lstStyle/>
        <a:p>
          <a:endParaRPr lang="es-CL"/>
        </a:p>
      </dgm:t>
    </dgm:pt>
    <dgm:pt modelId="{9B7985EC-B0EF-4343-B642-77C28343B400}" type="pres">
      <dgm:prSet presAssocID="{C1FBEED3-01B1-46F3-B957-C11B257F1AE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ES"/>
        </a:p>
      </dgm:t>
    </dgm:pt>
    <dgm:pt modelId="{E0EA4377-9324-445C-BE79-82DCA49297B7}" type="pres">
      <dgm:prSet presAssocID="{CF0A68FE-74EF-4AA2-9ED9-7B01612DF642}" presName="root" presStyleCnt="0"/>
      <dgm:spPr/>
    </dgm:pt>
    <dgm:pt modelId="{B65F52D6-B171-48CC-A37C-D69CDDA68680}" type="pres">
      <dgm:prSet presAssocID="{CF0A68FE-74EF-4AA2-9ED9-7B01612DF642}" presName="rootComposite" presStyleCnt="0"/>
      <dgm:spPr/>
    </dgm:pt>
    <dgm:pt modelId="{7A36CD1C-4CDD-455D-9997-CCE8CF7F334A}" type="pres">
      <dgm:prSet presAssocID="{CF0A68FE-74EF-4AA2-9ED9-7B01612DF642}" presName="rootText" presStyleLbl="node1" presStyleIdx="0" presStyleCnt="3" custScaleX="118439" custLinFactNeighborX="-37523" custLinFactNeighborY="7606"/>
      <dgm:spPr/>
      <dgm:t>
        <a:bodyPr/>
        <a:lstStyle/>
        <a:p>
          <a:endParaRPr lang="es-ES"/>
        </a:p>
      </dgm:t>
    </dgm:pt>
    <dgm:pt modelId="{2F95051D-7999-4B57-B62B-0A8E93ED2CF3}" type="pres">
      <dgm:prSet presAssocID="{CF0A68FE-74EF-4AA2-9ED9-7B01612DF642}" presName="rootConnector" presStyleLbl="node1" presStyleIdx="0" presStyleCnt="3"/>
      <dgm:spPr/>
      <dgm:t>
        <a:bodyPr/>
        <a:lstStyle/>
        <a:p>
          <a:endParaRPr lang="es-ES"/>
        </a:p>
      </dgm:t>
    </dgm:pt>
    <dgm:pt modelId="{90052C28-923F-4976-8A30-1CBD34BA8232}" type="pres">
      <dgm:prSet presAssocID="{CF0A68FE-74EF-4AA2-9ED9-7B01612DF642}" presName="childShape" presStyleCnt="0"/>
      <dgm:spPr/>
    </dgm:pt>
    <dgm:pt modelId="{E0CA4CE8-DF13-4590-987B-E1F14878D0D0}" type="pres">
      <dgm:prSet presAssocID="{A3E631B7-9209-4F79-8B7D-78DADD695CB6}" presName="Name13" presStyleLbl="parChTrans1D2" presStyleIdx="0" presStyleCnt="12"/>
      <dgm:spPr/>
      <dgm:t>
        <a:bodyPr/>
        <a:lstStyle/>
        <a:p>
          <a:endParaRPr lang="es-ES"/>
        </a:p>
      </dgm:t>
    </dgm:pt>
    <dgm:pt modelId="{425CC0D6-A987-4F3E-A514-4EB36E1C05A6}" type="pres">
      <dgm:prSet presAssocID="{19776E37-EBC8-420B-8C42-4ADFECCD7262}" presName="childText" presStyleLbl="bgAcc1" presStyleIdx="0" presStyleCnt="12" custScaleX="121282" custScaleY="87148" custLinFactNeighborX="-29910" custLinFactNeighborY="1313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EDB7E69-381A-499F-BF32-533698ED6D9E}" type="pres">
      <dgm:prSet presAssocID="{FFDDB0D2-5FB1-48A8-B604-54515B928839}" presName="Name13" presStyleLbl="parChTrans1D2" presStyleIdx="1" presStyleCnt="12"/>
      <dgm:spPr/>
      <dgm:t>
        <a:bodyPr/>
        <a:lstStyle/>
        <a:p>
          <a:endParaRPr lang="es-ES"/>
        </a:p>
      </dgm:t>
    </dgm:pt>
    <dgm:pt modelId="{C498833A-40BB-462F-8173-10509195D56C}" type="pres">
      <dgm:prSet presAssocID="{2734CC2E-851E-4C8A-AD0D-683909B9569F}" presName="childText" presStyleLbl="bgAcc1" presStyleIdx="1" presStyleCnt="12" custScaleX="121282" custScaleY="84523" custLinFactNeighborX="-29910" custLinFactNeighborY="1742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090B7D8-B3E0-4B2F-AFC1-6E82D4E32AFB}" type="pres">
      <dgm:prSet presAssocID="{9521B682-538C-4B7C-8D37-8F635E3CEDCF}" presName="Name13" presStyleLbl="parChTrans1D2" presStyleIdx="2" presStyleCnt="12"/>
      <dgm:spPr/>
      <dgm:t>
        <a:bodyPr/>
        <a:lstStyle/>
        <a:p>
          <a:endParaRPr lang="es-ES"/>
        </a:p>
      </dgm:t>
    </dgm:pt>
    <dgm:pt modelId="{52FB85B1-0560-4612-929C-E666117661C5}" type="pres">
      <dgm:prSet presAssocID="{F9B2E840-DE88-441B-8F8F-A2DE66ED0633}" presName="childText" presStyleLbl="bgAcc1" presStyleIdx="2" presStyleCnt="12" custScaleX="121282" custScaleY="69046" custLinFactNeighborX="-29910" custLinFactNeighborY="2433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31CFEE3-EF12-4482-A39F-04BAC3EAFDD4}" type="pres">
      <dgm:prSet presAssocID="{ADB013F8-898F-4BBA-9FDB-6B9AEDAC8C5C}" presName="Name13" presStyleLbl="parChTrans1D2" presStyleIdx="3" presStyleCnt="12"/>
      <dgm:spPr/>
      <dgm:t>
        <a:bodyPr/>
        <a:lstStyle/>
        <a:p>
          <a:endParaRPr lang="es-ES"/>
        </a:p>
      </dgm:t>
    </dgm:pt>
    <dgm:pt modelId="{EF2D5B3F-8873-4D01-A72A-E045084A3BEB}" type="pres">
      <dgm:prSet presAssocID="{C56710DF-7A83-4F98-B90E-671C2AA7E0FD}" presName="childText" presStyleLbl="bgAcc1" presStyleIdx="3" presStyleCnt="12" custScaleX="121282" custLinFactNeighborX="-29910" custLinFactNeighborY="2489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8A096D9-1EFA-44CE-ABCA-781100FE0571}" type="pres">
      <dgm:prSet presAssocID="{F9BDD195-9873-4859-9E5A-366D4086EBC9}" presName="root" presStyleCnt="0"/>
      <dgm:spPr/>
    </dgm:pt>
    <dgm:pt modelId="{C19C8F78-A25C-447B-AB15-580F4CDF29EF}" type="pres">
      <dgm:prSet presAssocID="{F9BDD195-9873-4859-9E5A-366D4086EBC9}" presName="rootComposite" presStyleCnt="0"/>
      <dgm:spPr/>
    </dgm:pt>
    <dgm:pt modelId="{7B33427B-A5D7-45FA-9C9F-3604B9916F97}" type="pres">
      <dgm:prSet presAssocID="{F9BDD195-9873-4859-9E5A-366D4086EBC9}" presName="rootText" presStyleLbl="node1" presStyleIdx="1" presStyleCnt="3" custScaleX="111329" custLinFactNeighborX="-13650" custLinFactNeighborY="6066"/>
      <dgm:spPr/>
      <dgm:t>
        <a:bodyPr/>
        <a:lstStyle/>
        <a:p>
          <a:endParaRPr lang="es-ES"/>
        </a:p>
      </dgm:t>
    </dgm:pt>
    <dgm:pt modelId="{153432B2-7305-4E7F-98B3-29ECE0996D08}" type="pres">
      <dgm:prSet presAssocID="{F9BDD195-9873-4859-9E5A-366D4086EBC9}" presName="rootConnector" presStyleLbl="node1" presStyleIdx="1" presStyleCnt="3"/>
      <dgm:spPr/>
      <dgm:t>
        <a:bodyPr/>
        <a:lstStyle/>
        <a:p>
          <a:endParaRPr lang="es-ES"/>
        </a:p>
      </dgm:t>
    </dgm:pt>
    <dgm:pt modelId="{8D01CE45-FB71-4B2F-8080-03B1F5F4DEB5}" type="pres">
      <dgm:prSet presAssocID="{F9BDD195-9873-4859-9E5A-366D4086EBC9}" presName="childShape" presStyleCnt="0"/>
      <dgm:spPr/>
    </dgm:pt>
    <dgm:pt modelId="{84099D88-DA45-493B-BC00-2EF75A9E221B}" type="pres">
      <dgm:prSet presAssocID="{B784CD62-3076-425C-B3D6-396E8EFD4C85}" presName="Name13" presStyleLbl="parChTrans1D2" presStyleIdx="4" presStyleCnt="12"/>
      <dgm:spPr/>
      <dgm:t>
        <a:bodyPr/>
        <a:lstStyle/>
        <a:p>
          <a:endParaRPr lang="es-ES"/>
        </a:p>
      </dgm:t>
    </dgm:pt>
    <dgm:pt modelId="{1D40BAC0-730F-468C-A268-4CE337B40F55}" type="pres">
      <dgm:prSet presAssocID="{06866570-9937-4602-80F8-51DB56C03E75}" presName="childText" presStyleLbl="bgAcc1" presStyleIdx="4" presStyleCnt="12" custScaleX="110664" custScaleY="88300" custLinFactNeighborX="-7645" custLinFactNeighborY="1313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4327BF4-1CE4-4EC1-B596-37CE9AA885DB}" type="pres">
      <dgm:prSet presAssocID="{0B252B1E-5D95-4ADA-85A1-383A472B6801}" presName="Name13" presStyleLbl="parChTrans1D2" presStyleIdx="5" presStyleCnt="12"/>
      <dgm:spPr/>
      <dgm:t>
        <a:bodyPr/>
        <a:lstStyle/>
        <a:p>
          <a:endParaRPr lang="es-ES"/>
        </a:p>
      </dgm:t>
    </dgm:pt>
    <dgm:pt modelId="{33080A38-A292-49F0-8CAD-FD2C02E715E4}" type="pres">
      <dgm:prSet presAssocID="{F37EA4B3-B179-4A1E-8903-25972DA5E959}" presName="childText" presStyleLbl="bgAcc1" presStyleIdx="5" presStyleCnt="12" custScaleX="108762" custScaleY="81218" custLinFactNeighborX="-7645" custLinFactNeighborY="23549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D8356AA-4FF3-4C94-86D4-33D7492D9366}" type="pres">
      <dgm:prSet presAssocID="{0076D393-258B-411F-9E1B-45EEB92551EE}" presName="Name13" presStyleLbl="parChTrans1D2" presStyleIdx="6" presStyleCnt="12"/>
      <dgm:spPr/>
      <dgm:t>
        <a:bodyPr/>
        <a:lstStyle/>
        <a:p>
          <a:endParaRPr lang="es-ES"/>
        </a:p>
      </dgm:t>
    </dgm:pt>
    <dgm:pt modelId="{A9500BED-E339-42BC-86E0-49507C8F2259}" type="pres">
      <dgm:prSet presAssocID="{D2883BF8-8F9D-4EA2-8AF4-AD8BBBA155D8}" presName="childText" presStyleLbl="bgAcc1" presStyleIdx="6" presStyleCnt="12" custScaleX="110338" custScaleY="56308" custLinFactNeighborX="-9763" custLinFactNeighborY="3376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094DAF6-161A-48A6-B978-DABD7441AB19}" type="pres">
      <dgm:prSet presAssocID="{7642F327-1072-4DD7-8085-E4BEF0F7CEF6}" presName="Name13" presStyleLbl="parChTrans1D2" presStyleIdx="7" presStyleCnt="12"/>
      <dgm:spPr/>
      <dgm:t>
        <a:bodyPr/>
        <a:lstStyle/>
        <a:p>
          <a:endParaRPr lang="es-ES"/>
        </a:p>
      </dgm:t>
    </dgm:pt>
    <dgm:pt modelId="{AF282591-F9D6-4D71-87B7-F071E96D36ED}" type="pres">
      <dgm:prSet presAssocID="{D25524BB-BA01-4625-A17E-1375E25926A9}" presName="childText" presStyleLbl="bgAcc1" presStyleIdx="7" presStyleCnt="12" custScaleX="114313" custScaleY="104721" custLinFactNeighborX="-11859" custLinFactNeighborY="3250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5D23DC3-E02C-43C3-AF6A-33F3523254CB}" type="pres">
      <dgm:prSet presAssocID="{8746147D-8DC9-41D2-AF76-E3393A23BB17}" presName="root" presStyleCnt="0"/>
      <dgm:spPr/>
    </dgm:pt>
    <dgm:pt modelId="{4C2EB443-896C-4637-8823-9D5A5242112F}" type="pres">
      <dgm:prSet presAssocID="{8746147D-8DC9-41D2-AF76-E3393A23BB17}" presName="rootComposite" presStyleCnt="0"/>
      <dgm:spPr/>
    </dgm:pt>
    <dgm:pt modelId="{4A1F2038-FA57-4AC2-8252-3ACCDA100695}" type="pres">
      <dgm:prSet presAssocID="{8746147D-8DC9-41D2-AF76-E3393A23BB17}" presName="rootText" presStyleLbl="node1" presStyleIdx="2" presStyleCnt="3" custScaleX="115312" custLinFactNeighborX="13322" custLinFactNeighborY="7150"/>
      <dgm:spPr/>
      <dgm:t>
        <a:bodyPr/>
        <a:lstStyle/>
        <a:p>
          <a:endParaRPr lang="es-ES"/>
        </a:p>
      </dgm:t>
    </dgm:pt>
    <dgm:pt modelId="{4A494DA0-FA72-44E1-902B-A8B74A7AFC5A}" type="pres">
      <dgm:prSet presAssocID="{8746147D-8DC9-41D2-AF76-E3393A23BB17}" presName="rootConnector" presStyleLbl="node1" presStyleIdx="2" presStyleCnt="3"/>
      <dgm:spPr/>
      <dgm:t>
        <a:bodyPr/>
        <a:lstStyle/>
        <a:p>
          <a:endParaRPr lang="es-ES"/>
        </a:p>
      </dgm:t>
    </dgm:pt>
    <dgm:pt modelId="{B1CED59B-0E8C-4780-AF03-6A8D8134D1DC}" type="pres">
      <dgm:prSet presAssocID="{8746147D-8DC9-41D2-AF76-E3393A23BB17}" presName="childShape" presStyleCnt="0"/>
      <dgm:spPr/>
    </dgm:pt>
    <dgm:pt modelId="{80AEAD2E-F332-49ED-B347-BB757F2051EC}" type="pres">
      <dgm:prSet presAssocID="{1DCA5167-A940-4F7B-9438-7F81018BACA0}" presName="Name13" presStyleLbl="parChTrans1D2" presStyleIdx="8" presStyleCnt="12"/>
      <dgm:spPr/>
      <dgm:t>
        <a:bodyPr/>
        <a:lstStyle/>
        <a:p>
          <a:endParaRPr lang="es-ES"/>
        </a:p>
      </dgm:t>
    </dgm:pt>
    <dgm:pt modelId="{514CCD24-1E2C-453D-BF22-88DF87AF73A9}" type="pres">
      <dgm:prSet presAssocID="{145DC95C-343A-4833-828F-640ECE557A3C}" presName="childText" presStyleLbl="bgAcc1" presStyleIdx="8" presStyleCnt="12" custScaleX="116353" custLinFactNeighborX="21923" custLinFactNeighborY="-141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C4AE9B6-DFD3-48C1-9A53-5B6F93D311A8}" type="pres">
      <dgm:prSet presAssocID="{DC38496F-F34A-4653-960F-5BF8B21424EF}" presName="Name13" presStyleLbl="parChTrans1D2" presStyleIdx="9" presStyleCnt="12"/>
      <dgm:spPr/>
      <dgm:t>
        <a:bodyPr/>
        <a:lstStyle/>
        <a:p>
          <a:endParaRPr lang="es-ES"/>
        </a:p>
      </dgm:t>
    </dgm:pt>
    <dgm:pt modelId="{B3A7663D-4801-4EEA-BC36-9D7BE3DC1324}" type="pres">
      <dgm:prSet presAssocID="{9A2BBAB2-C159-4901-841E-042B80A8B630}" presName="childText" presStyleLbl="bgAcc1" presStyleIdx="9" presStyleCnt="12" custScaleX="112194" custScaleY="150167" custLinFactNeighborX="24138" custLinFactNeighborY="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53F0568-A673-45CB-95BE-4F77D8A4A58F}" type="pres">
      <dgm:prSet presAssocID="{DCC9AE9E-E07F-4170-A9FA-84A7499D7727}" presName="Name13" presStyleLbl="parChTrans1D2" presStyleIdx="10" presStyleCnt="12"/>
      <dgm:spPr/>
      <dgm:t>
        <a:bodyPr/>
        <a:lstStyle/>
        <a:p>
          <a:endParaRPr lang="es-ES"/>
        </a:p>
      </dgm:t>
    </dgm:pt>
    <dgm:pt modelId="{2BC3C2DE-9EAD-4869-A336-94FDD377E048}" type="pres">
      <dgm:prSet presAssocID="{79272D6E-260D-4233-BB8C-2615A79B2370}" presName="childText" presStyleLbl="bgAcc1" presStyleIdx="10" presStyleCnt="12" custScaleX="107256" custScaleY="64877" custLinFactNeighborX="28160" custLinFactNeighborY="243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AAB32A4-E0E6-4BA2-921B-10C63878908B}" type="pres">
      <dgm:prSet presAssocID="{0584F9A7-3B88-4429-B30D-6B7D69D8BF3E}" presName="Name13" presStyleLbl="parChTrans1D2" presStyleIdx="11" presStyleCnt="12"/>
      <dgm:spPr/>
      <dgm:t>
        <a:bodyPr/>
        <a:lstStyle/>
        <a:p>
          <a:endParaRPr lang="es-ES"/>
        </a:p>
      </dgm:t>
    </dgm:pt>
    <dgm:pt modelId="{DA1E3552-3CB3-4CD8-8A5E-E9128AFBAF32}" type="pres">
      <dgm:prSet presAssocID="{B025C224-6AB6-4DA0-9D7C-A18572E7C3E7}" presName="childText" presStyleLbl="bgAcc1" presStyleIdx="11" presStyleCnt="12" custScaleX="131110" custLinFactNeighborX="26931" custLinFactNeighborY="9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0B1179BC-9DA1-421C-95CD-92B000C8C3F4}" type="presOf" srcId="{0B252B1E-5D95-4ADA-85A1-383A472B6801}" destId="{34327BF4-1CE4-4EC1-B596-37CE9AA885DB}" srcOrd="0" destOrd="0" presId="urn:microsoft.com/office/officeart/2005/8/layout/hierarchy3"/>
    <dgm:cxn modelId="{CEFEB98B-2849-4D21-B7E6-02FCDD8AA790}" type="presOf" srcId="{8746147D-8DC9-41D2-AF76-E3393A23BB17}" destId="{4A1F2038-FA57-4AC2-8252-3ACCDA100695}" srcOrd="0" destOrd="0" presId="urn:microsoft.com/office/officeart/2005/8/layout/hierarchy3"/>
    <dgm:cxn modelId="{084421BF-DD3B-4890-9D87-C4E1D7C29747}" srcId="{C1FBEED3-01B1-46F3-B957-C11B257F1AE3}" destId="{F9BDD195-9873-4859-9E5A-366D4086EBC9}" srcOrd="1" destOrd="0" parTransId="{A89CC6C9-14BA-401B-8443-BE2B227722C5}" sibTransId="{99B011BA-4964-47D2-86CE-3546E15448AC}"/>
    <dgm:cxn modelId="{14FE2990-FBFB-4DD4-85C4-3C412A17E776}" srcId="{F9BDD195-9873-4859-9E5A-366D4086EBC9}" destId="{D25524BB-BA01-4625-A17E-1375E25926A9}" srcOrd="3" destOrd="0" parTransId="{7642F327-1072-4DD7-8085-E4BEF0F7CEF6}" sibTransId="{F0379A5C-83CD-400E-BCC1-D6666301BB20}"/>
    <dgm:cxn modelId="{E7306793-30D2-405B-AFAB-6424D25B55E0}" type="presOf" srcId="{C1FBEED3-01B1-46F3-B957-C11B257F1AE3}" destId="{9B7985EC-B0EF-4343-B642-77C28343B400}" srcOrd="0" destOrd="0" presId="urn:microsoft.com/office/officeart/2005/8/layout/hierarchy3"/>
    <dgm:cxn modelId="{CB1F206E-AD83-4FED-9A2A-E19FD1E83D1B}" type="presOf" srcId="{B784CD62-3076-425C-B3D6-396E8EFD4C85}" destId="{84099D88-DA45-493B-BC00-2EF75A9E221B}" srcOrd="0" destOrd="0" presId="urn:microsoft.com/office/officeart/2005/8/layout/hierarchy3"/>
    <dgm:cxn modelId="{EA0149BF-E12D-4B9F-98FA-683D9BEDA336}" type="presOf" srcId="{DC38496F-F34A-4653-960F-5BF8B21424EF}" destId="{AC4AE9B6-DFD3-48C1-9A53-5B6F93D311A8}" srcOrd="0" destOrd="0" presId="urn:microsoft.com/office/officeart/2005/8/layout/hierarchy3"/>
    <dgm:cxn modelId="{52EA1105-0CCB-42CF-997E-6107221893D8}" type="presOf" srcId="{D2883BF8-8F9D-4EA2-8AF4-AD8BBBA155D8}" destId="{A9500BED-E339-42BC-86E0-49507C8F2259}" srcOrd="0" destOrd="0" presId="urn:microsoft.com/office/officeart/2005/8/layout/hierarchy3"/>
    <dgm:cxn modelId="{C8C7D96F-0354-4636-8A02-506F7566CC5F}" type="presOf" srcId="{A3E631B7-9209-4F79-8B7D-78DADD695CB6}" destId="{E0CA4CE8-DF13-4590-987B-E1F14878D0D0}" srcOrd="0" destOrd="0" presId="urn:microsoft.com/office/officeart/2005/8/layout/hierarchy3"/>
    <dgm:cxn modelId="{99DC1F7E-C1AC-40E0-92D6-0FA85CBCEC18}" type="presOf" srcId="{145DC95C-343A-4833-828F-640ECE557A3C}" destId="{514CCD24-1E2C-453D-BF22-88DF87AF73A9}" srcOrd="0" destOrd="0" presId="urn:microsoft.com/office/officeart/2005/8/layout/hierarchy3"/>
    <dgm:cxn modelId="{3032BF7E-E1AB-48F1-9E15-20303050AC7E}" type="presOf" srcId="{B025C224-6AB6-4DA0-9D7C-A18572E7C3E7}" destId="{DA1E3552-3CB3-4CD8-8A5E-E9128AFBAF32}" srcOrd="0" destOrd="0" presId="urn:microsoft.com/office/officeart/2005/8/layout/hierarchy3"/>
    <dgm:cxn modelId="{E6512D42-E6E4-4A49-AA36-F146703C69EF}" srcId="{C1FBEED3-01B1-46F3-B957-C11B257F1AE3}" destId="{8746147D-8DC9-41D2-AF76-E3393A23BB17}" srcOrd="2" destOrd="0" parTransId="{9A0210E9-5A8C-4027-B606-6E0EAF96BFF0}" sibTransId="{0699C35D-9DBD-493E-9B35-13B32D239E2E}"/>
    <dgm:cxn modelId="{771048F8-E9C8-47C5-8E0B-30C6C3E97A41}" srcId="{CF0A68FE-74EF-4AA2-9ED9-7B01612DF642}" destId="{2734CC2E-851E-4C8A-AD0D-683909B9569F}" srcOrd="1" destOrd="0" parTransId="{FFDDB0D2-5FB1-48A8-B604-54515B928839}" sibTransId="{F2C0A5FA-0B8C-4D7C-AB9B-CB7F02674230}"/>
    <dgm:cxn modelId="{194D2862-156A-4EBA-ABD7-59B286E46E59}" type="presOf" srcId="{CF0A68FE-74EF-4AA2-9ED9-7B01612DF642}" destId="{2F95051D-7999-4B57-B62B-0A8E93ED2CF3}" srcOrd="1" destOrd="0" presId="urn:microsoft.com/office/officeart/2005/8/layout/hierarchy3"/>
    <dgm:cxn modelId="{E117859B-F120-442C-BC7D-AFBF60FF4C09}" type="presOf" srcId="{D25524BB-BA01-4625-A17E-1375E25926A9}" destId="{AF282591-F9D6-4D71-87B7-F071E96D36ED}" srcOrd="0" destOrd="0" presId="urn:microsoft.com/office/officeart/2005/8/layout/hierarchy3"/>
    <dgm:cxn modelId="{53A56883-748A-49D5-9EF6-14C90CE708C1}" type="presOf" srcId="{7642F327-1072-4DD7-8085-E4BEF0F7CEF6}" destId="{A094DAF6-161A-48A6-B978-DABD7441AB19}" srcOrd="0" destOrd="0" presId="urn:microsoft.com/office/officeart/2005/8/layout/hierarchy3"/>
    <dgm:cxn modelId="{13F4644E-10ED-4805-B888-2D390D2C9B73}" type="presOf" srcId="{79272D6E-260D-4233-BB8C-2615A79B2370}" destId="{2BC3C2DE-9EAD-4869-A336-94FDD377E048}" srcOrd="0" destOrd="0" presId="urn:microsoft.com/office/officeart/2005/8/layout/hierarchy3"/>
    <dgm:cxn modelId="{9488A6F3-A97B-4440-8CCF-1D1C8498DB65}" srcId="{CF0A68FE-74EF-4AA2-9ED9-7B01612DF642}" destId="{F9B2E840-DE88-441B-8F8F-A2DE66ED0633}" srcOrd="2" destOrd="0" parTransId="{9521B682-538C-4B7C-8D37-8F635E3CEDCF}" sibTransId="{C0B8BDFE-6B71-412F-87BA-AE560DB88854}"/>
    <dgm:cxn modelId="{6E02D67F-096F-4FBD-9ADD-F1F4D7C35A0A}" type="presOf" srcId="{9A2BBAB2-C159-4901-841E-042B80A8B630}" destId="{B3A7663D-4801-4EEA-BC36-9D7BE3DC1324}" srcOrd="0" destOrd="0" presId="urn:microsoft.com/office/officeart/2005/8/layout/hierarchy3"/>
    <dgm:cxn modelId="{E09D209A-F532-444B-B9A7-777C8DFE563A}" type="presOf" srcId="{C56710DF-7A83-4F98-B90E-671C2AA7E0FD}" destId="{EF2D5B3F-8873-4D01-A72A-E045084A3BEB}" srcOrd="0" destOrd="0" presId="urn:microsoft.com/office/officeart/2005/8/layout/hierarchy3"/>
    <dgm:cxn modelId="{A44D347E-C33C-45C1-B6D0-957F6A080E33}" type="presOf" srcId="{9521B682-538C-4B7C-8D37-8F635E3CEDCF}" destId="{2090B7D8-B3E0-4B2F-AFC1-6E82D4E32AFB}" srcOrd="0" destOrd="0" presId="urn:microsoft.com/office/officeart/2005/8/layout/hierarchy3"/>
    <dgm:cxn modelId="{B26BC062-8BF4-4370-8611-8B5A4506ABD2}" type="presOf" srcId="{CF0A68FE-74EF-4AA2-9ED9-7B01612DF642}" destId="{7A36CD1C-4CDD-455D-9997-CCE8CF7F334A}" srcOrd="0" destOrd="0" presId="urn:microsoft.com/office/officeart/2005/8/layout/hierarchy3"/>
    <dgm:cxn modelId="{5E86D010-5A1C-49FC-8919-E63C3A0F4C8E}" srcId="{F9BDD195-9873-4859-9E5A-366D4086EBC9}" destId="{D2883BF8-8F9D-4EA2-8AF4-AD8BBBA155D8}" srcOrd="2" destOrd="0" parTransId="{0076D393-258B-411F-9E1B-45EEB92551EE}" sibTransId="{091B76C2-98AD-4FDC-9433-2E707496C7E7}"/>
    <dgm:cxn modelId="{A0992136-E705-48C0-840D-27FD58FB9299}" srcId="{8746147D-8DC9-41D2-AF76-E3393A23BB17}" destId="{B025C224-6AB6-4DA0-9D7C-A18572E7C3E7}" srcOrd="3" destOrd="0" parTransId="{0584F9A7-3B88-4429-B30D-6B7D69D8BF3E}" sibTransId="{3520BF3D-E159-4622-8A4E-105E1C511458}"/>
    <dgm:cxn modelId="{EC157DF8-E89D-4A45-9278-06DB2F1450CA}" type="presOf" srcId="{F9B2E840-DE88-441B-8F8F-A2DE66ED0633}" destId="{52FB85B1-0560-4612-929C-E666117661C5}" srcOrd="0" destOrd="0" presId="urn:microsoft.com/office/officeart/2005/8/layout/hierarchy3"/>
    <dgm:cxn modelId="{5BF398A0-058D-45EC-9DA7-A3E480D3AB2A}" type="presOf" srcId="{2734CC2E-851E-4C8A-AD0D-683909B9569F}" destId="{C498833A-40BB-462F-8173-10509195D56C}" srcOrd="0" destOrd="0" presId="urn:microsoft.com/office/officeart/2005/8/layout/hierarchy3"/>
    <dgm:cxn modelId="{8AB68A93-B2B5-4DCA-A0F0-18BB97028613}" type="presOf" srcId="{1DCA5167-A940-4F7B-9438-7F81018BACA0}" destId="{80AEAD2E-F332-49ED-B347-BB757F2051EC}" srcOrd="0" destOrd="0" presId="urn:microsoft.com/office/officeart/2005/8/layout/hierarchy3"/>
    <dgm:cxn modelId="{A144311C-97BA-4D66-AB77-A3C1B7F4B5C4}" type="presOf" srcId="{F9BDD195-9873-4859-9E5A-366D4086EBC9}" destId="{153432B2-7305-4E7F-98B3-29ECE0996D08}" srcOrd="1" destOrd="0" presId="urn:microsoft.com/office/officeart/2005/8/layout/hierarchy3"/>
    <dgm:cxn modelId="{62AA0487-2D89-4D4B-A50C-5AB9CC779B4D}" type="presOf" srcId="{DCC9AE9E-E07F-4170-A9FA-84A7499D7727}" destId="{553F0568-A673-45CB-95BE-4F77D8A4A58F}" srcOrd="0" destOrd="0" presId="urn:microsoft.com/office/officeart/2005/8/layout/hierarchy3"/>
    <dgm:cxn modelId="{8E495BEA-8F07-406D-9AF3-1636B8E20C82}" type="presOf" srcId="{19776E37-EBC8-420B-8C42-4ADFECCD7262}" destId="{425CC0D6-A987-4F3E-A514-4EB36E1C05A6}" srcOrd="0" destOrd="0" presId="urn:microsoft.com/office/officeart/2005/8/layout/hierarchy3"/>
    <dgm:cxn modelId="{D5888B3A-E099-4579-B4A9-F84FCE1EF33D}" type="presOf" srcId="{0076D393-258B-411F-9E1B-45EEB92551EE}" destId="{ED8356AA-4FF3-4C94-86D4-33D7492D9366}" srcOrd="0" destOrd="0" presId="urn:microsoft.com/office/officeart/2005/8/layout/hierarchy3"/>
    <dgm:cxn modelId="{8879D102-A6D4-4E74-A1A5-52BEE2B885FA}" srcId="{C1FBEED3-01B1-46F3-B957-C11B257F1AE3}" destId="{CF0A68FE-74EF-4AA2-9ED9-7B01612DF642}" srcOrd="0" destOrd="0" parTransId="{E64A07B7-C90A-445E-93B5-B45E2BB98F9F}" sibTransId="{5AEAF890-6343-43D3-833D-446C267EA1E1}"/>
    <dgm:cxn modelId="{2FCEB088-16D6-47CC-8CDA-D10E0FE24B49}" srcId="{8746147D-8DC9-41D2-AF76-E3393A23BB17}" destId="{79272D6E-260D-4233-BB8C-2615A79B2370}" srcOrd="2" destOrd="0" parTransId="{DCC9AE9E-E07F-4170-A9FA-84A7499D7727}" sibTransId="{071D1648-D77A-43D6-BA13-C7FC8C12C3C7}"/>
    <dgm:cxn modelId="{2B017049-8ADD-45A9-9B7E-A0C9C69BEB8B}" type="presOf" srcId="{8746147D-8DC9-41D2-AF76-E3393A23BB17}" destId="{4A494DA0-FA72-44E1-902B-A8B74A7AFC5A}" srcOrd="1" destOrd="0" presId="urn:microsoft.com/office/officeart/2005/8/layout/hierarchy3"/>
    <dgm:cxn modelId="{AB62E428-39A2-46A4-99FA-8D40829DEA56}" srcId="{F9BDD195-9873-4859-9E5A-366D4086EBC9}" destId="{F37EA4B3-B179-4A1E-8903-25972DA5E959}" srcOrd="1" destOrd="0" parTransId="{0B252B1E-5D95-4ADA-85A1-383A472B6801}" sibTransId="{2D63E125-422D-4331-9961-069DD95A0569}"/>
    <dgm:cxn modelId="{D6EA330C-0FB0-4C7F-9733-5D35EC6E5843}" type="presOf" srcId="{FFDDB0D2-5FB1-48A8-B604-54515B928839}" destId="{7EDB7E69-381A-499F-BF32-533698ED6D9E}" srcOrd="0" destOrd="0" presId="urn:microsoft.com/office/officeart/2005/8/layout/hierarchy3"/>
    <dgm:cxn modelId="{594C592D-E613-40FC-A690-DF62E0FBC905}" srcId="{8746147D-8DC9-41D2-AF76-E3393A23BB17}" destId="{9A2BBAB2-C159-4901-841E-042B80A8B630}" srcOrd="1" destOrd="0" parTransId="{DC38496F-F34A-4653-960F-5BF8B21424EF}" sibTransId="{68EB307C-59AE-429F-9E36-04ACDA9A891E}"/>
    <dgm:cxn modelId="{0BD60C49-696D-4DD2-8E01-FE8A12F4326A}" type="presOf" srcId="{F9BDD195-9873-4859-9E5A-366D4086EBC9}" destId="{7B33427B-A5D7-45FA-9C9F-3604B9916F97}" srcOrd="0" destOrd="0" presId="urn:microsoft.com/office/officeart/2005/8/layout/hierarchy3"/>
    <dgm:cxn modelId="{8D50B8C6-C59D-4809-B6C7-D2A414E53476}" srcId="{CF0A68FE-74EF-4AA2-9ED9-7B01612DF642}" destId="{C56710DF-7A83-4F98-B90E-671C2AA7E0FD}" srcOrd="3" destOrd="0" parTransId="{ADB013F8-898F-4BBA-9FDB-6B9AEDAC8C5C}" sibTransId="{2006F637-53B8-4FE9-8CE1-A388B5E2D5B6}"/>
    <dgm:cxn modelId="{77E5B836-E302-4B03-8D9D-321D20563789}" srcId="{CF0A68FE-74EF-4AA2-9ED9-7B01612DF642}" destId="{19776E37-EBC8-420B-8C42-4ADFECCD7262}" srcOrd="0" destOrd="0" parTransId="{A3E631B7-9209-4F79-8B7D-78DADD695CB6}" sibTransId="{1DFC8BA7-96D2-4B91-8AF1-67D585923E62}"/>
    <dgm:cxn modelId="{C0E3A0CB-9180-4709-9059-763212A3E9A9}" type="presOf" srcId="{0584F9A7-3B88-4429-B30D-6B7D69D8BF3E}" destId="{EAAB32A4-E0E6-4BA2-921B-10C63878908B}" srcOrd="0" destOrd="0" presId="urn:microsoft.com/office/officeart/2005/8/layout/hierarchy3"/>
    <dgm:cxn modelId="{59341204-84A7-49A8-B95D-4B6AAB2309D6}" srcId="{F9BDD195-9873-4859-9E5A-366D4086EBC9}" destId="{06866570-9937-4602-80F8-51DB56C03E75}" srcOrd="0" destOrd="0" parTransId="{B784CD62-3076-425C-B3D6-396E8EFD4C85}" sibTransId="{9AEED5E1-2059-4EC2-ABAD-2BA2880E5ED4}"/>
    <dgm:cxn modelId="{A471BC58-013B-4DA0-AFF6-D8784BCDD3E2}" srcId="{8746147D-8DC9-41D2-AF76-E3393A23BB17}" destId="{145DC95C-343A-4833-828F-640ECE557A3C}" srcOrd="0" destOrd="0" parTransId="{1DCA5167-A940-4F7B-9438-7F81018BACA0}" sibTransId="{08A4C67C-F3AE-41D6-BE38-3A89DDEFAEBD}"/>
    <dgm:cxn modelId="{ADC6D355-F770-4D2A-824F-014657A94E4C}" type="presOf" srcId="{F37EA4B3-B179-4A1E-8903-25972DA5E959}" destId="{33080A38-A292-49F0-8CAD-FD2C02E715E4}" srcOrd="0" destOrd="0" presId="urn:microsoft.com/office/officeart/2005/8/layout/hierarchy3"/>
    <dgm:cxn modelId="{13B642C2-4BD4-411D-811C-5B45C02BD5FB}" type="presOf" srcId="{ADB013F8-898F-4BBA-9FDB-6B9AEDAC8C5C}" destId="{231CFEE3-EF12-4482-A39F-04BAC3EAFDD4}" srcOrd="0" destOrd="0" presId="urn:microsoft.com/office/officeart/2005/8/layout/hierarchy3"/>
    <dgm:cxn modelId="{E8F6AF90-5DA8-474E-A160-51A8198C96DB}" type="presOf" srcId="{06866570-9937-4602-80F8-51DB56C03E75}" destId="{1D40BAC0-730F-468C-A268-4CE337B40F55}" srcOrd="0" destOrd="0" presId="urn:microsoft.com/office/officeart/2005/8/layout/hierarchy3"/>
    <dgm:cxn modelId="{0C70EFBF-9573-41BE-AD10-34E250B8FE5D}" type="presParOf" srcId="{9B7985EC-B0EF-4343-B642-77C28343B400}" destId="{E0EA4377-9324-445C-BE79-82DCA49297B7}" srcOrd="0" destOrd="0" presId="urn:microsoft.com/office/officeart/2005/8/layout/hierarchy3"/>
    <dgm:cxn modelId="{ACE835E5-2F53-425B-B255-864C8DF741BA}" type="presParOf" srcId="{E0EA4377-9324-445C-BE79-82DCA49297B7}" destId="{B65F52D6-B171-48CC-A37C-D69CDDA68680}" srcOrd="0" destOrd="0" presId="urn:microsoft.com/office/officeart/2005/8/layout/hierarchy3"/>
    <dgm:cxn modelId="{A33953A2-6C8B-4F59-BD7E-EAE9E3213E72}" type="presParOf" srcId="{B65F52D6-B171-48CC-A37C-D69CDDA68680}" destId="{7A36CD1C-4CDD-455D-9997-CCE8CF7F334A}" srcOrd="0" destOrd="0" presId="urn:microsoft.com/office/officeart/2005/8/layout/hierarchy3"/>
    <dgm:cxn modelId="{03ACE68B-31D4-4F4E-B6C5-3B506DCD2F2A}" type="presParOf" srcId="{B65F52D6-B171-48CC-A37C-D69CDDA68680}" destId="{2F95051D-7999-4B57-B62B-0A8E93ED2CF3}" srcOrd="1" destOrd="0" presId="urn:microsoft.com/office/officeart/2005/8/layout/hierarchy3"/>
    <dgm:cxn modelId="{A6F499B2-02F0-4B07-9BEC-30779B4B07E3}" type="presParOf" srcId="{E0EA4377-9324-445C-BE79-82DCA49297B7}" destId="{90052C28-923F-4976-8A30-1CBD34BA8232}" srcOrd="1" destOrd="0" presId="urn:microsoft.com/office/officeart/2005/8/layout/hierarchy3"/>
    <dgm:cxn modelId="{F5BD03E9-7EE5-4535-B182-5D33D74254B8}" type="presParOf" srcId="{90052C28-923F-4976-8A30-1CBD34BA8232}" destId="{E0CA4CE8-DF13-4590-987B-E1F14878D0D0}" srcOrd="0" destOrd="0" presId="urn:microsoft.com/office/officeart/2005/8/layout/hierarchy3"/>
    <dgm:cxn modelId="{79E69017-023E-472A-BF2A-7C69B5D19DD4}" type="presParOf" srcId="{90052C28-923F-4976-8A30-1CBD34BA8232}" destId="{425CC0D6-A987-4F3E-A514-4EB36E1C05A6}" srcOrd="1" destOrd="0" presId="urn:microsoft.com/office/officeart/2005/8/layout/hierarchy3"/>
    <dgm:cxn modelId="{CB7E9E8D-3321-4113-9E5D-C75F2359B7F9}" type="presParOf" srcId="{90052C28-923F-4976-8A30-1CBD34BA8232}" destId="{7EDB7E69-381A-499F-BF32-533698ED6D9E}" srcOrd="2" destOrd="0" presId="urn:microsoft.com/office/officeart/2005/8/layout/hierarchy3"/>
    <dgm:cxn modelId="{EE5300F4-1BDF-4E68-822E-6DD9788F9937}" type="presParOf" srcId="{90052C28-923F-4976-8A30-1CBD34BA8232}" destId="{C498833A-40BB-462F-8173-10509195D56C}" srcOrd="3" destOrd="0" presId="urn:microsoft.com/office/officeart/2005/8/layout/hierarchy3"/>
    <dgm:cxn modelId="{0C9B011D-A094-424C-8B00-2F5713B7A02B}" type="presParOf" srcId="{90052C28-923F-4976-8A30-1CBD34BA8232}" destId="{2090B7D8-B3E0-4B2F-AFC1-6E82D4E32AFB}" srcOrd="4" destOrd="0" presId="urn:microsoft.com/office/officeart/2005/8/layout/hierarchy3"/>
    <dgm:cxn modelId="{2B495A6A-A81F-41D3-B110-46F9F4244C87}" type="presParOf" srcId="{90052C28-923F-4976-8A30-1CBD34BA8232}" destId="{52FB85B1-0560-4612-929C-E666117661C5}" srcOrd="5" destOrd="0" presId="urn:microsoft.com/office/officeart/2005/8/layout/hierarchy3"/>
    <dgm:cxn modelId="{53F3B192-3BEF-41BF-BD84-E68BDA4AF49F}" type="presParOf" srcId="{90052C28-923F-4976-8A30-1CBD34BA8232}" destId="{231CFEE3-EF12-4482-A39F-04BAC3EAFDD4}" srcOrd="6" destOrd="0" presId="urn:microsoft.com/office/officeart/2005/8/layout/hierarchy3"/>
    <dgm:cxn modelId="{D7080EDF-3A19-4E87-9FA8-2A64B27980DB}" type="presParOf" srcId="{90052C28-923F-4976-8A30-1CBD34BA8232}" destId="{EF2D5B3F-8873-4D01-A72A-E045084A3BEB}" srcOrd="7" destOrd="0" presId="urn:microsoft.com/office/officeart/2005/8/layout/hierarchy3"/>
    <dgm:cxn modelId="{1D7794DC-C1E2-48EF-8FD1-032D7865F718}" type="presParOf" srcId="{9B7985EC-B0EF-4343-B642-77C28343B400}" destId="{98A096D9-1EFA-44CE-ABCA-781100FE0571}" srcOrd="1" destOrd="0" presId="urn:microsoft.com/office/officeart/2005/8/layout/hierarchy3"/>
    <dgm:cxn modelId="{66BB1FFB-C76E-4D81-8C14-9B8454F875A6}" type="presParOf" srcId="{98A096D9-1EFA-44CE-ABCA-781100FE0571}" destId="{C19C8F78-A25C-447B-AB15-580F4CDF29EF}" srcOrd="0" destOrd="0" presId="urn:microsoft.com/office/officeart/2005/8/layout/hierarchy3"/>
    <dgm:cxn modelId="{29C58EA3-C05A-4624-A0C4-BB4B18983B79}" type="presParOf" srcId="{C19C8F78-A25C-447B-AB15-580F4CDF29EF}" destId="{7B33427B-A5D7-45FA-9C9F-3604B9916F97}" srcOrd="0" destOrd="0" presId="urn:microsoft.com/office/officeart/2005/8/layout/hierarchy3"/>
    <dgm:cxn modelId="{89D4B2D0-FB60-42D5-BBF3-FEB739936405}" type="presParOf" srcId="{C19C8F78-A25C-447B-AB15-580F4CDF29EF}" destId="{153432B2-7305-4E7F-98B3-29ECE0996D08}" srcOrd="1" destOrd="0" presId="urn:microsoft.com/office/officeart/2005/8/layout/hierarchy3"/>
    <dgm:cxn modelId="{3E2FCE03-92DD-45D5-A3CD-5350058DC223}" type="presParOf" srcId="{98A096D9-1EFA-44CE-ABCA-781100FE0571}" destId="{8D01CE45-FB71-4B2F-8080-03B1F5F4DEB5}" srcOrd="1" destOrd="0" presId="urn:microsoft.com/office/officeart/2005/8/layout/hierarchy3"/>
    <dgm:cxn modelId="{7CBD6718-1FE7-41CE-A369-37EF080E2E84}" type="presParOf" srcId="{8D01CE45-FB71-4B2F-8080-03B1F5F4DEB5}" destId="{84099D88-DA45-493B-BC00-2EF75A9E221B}" srcOrd="0" destOrd="0" presId="urn:microsoft.com/office/officeart/2005/8/layout/hierarchy3"/>
    <dgm:cxn modelId="{24F787EE-E571-49DE-91BC-E8EDFF219B79}" type="presParOf" srcId="{8D01CE45-FB71-4B2F-8080-03B1F5F4DEB5}" destId="{1D40BAC0-730F-468C-A268-4CE337B40F55}" srcOrd="1" destOrd="0" presId="urn:microsoft.com/office/officeart/2005/8/layout/hierarchy3"/>
    <dgm:cxn modelId="{6D9FADDD-1913-4112-B58C-32FF23FFC92B}" type="presParOf" srcId="{8D01CE45-FB71-4B2F-8080-03B1F5F4DEB5}" destId="{34327BF4-1CE4-4EC1-B596-37CE9AA885DB}" srcOrd="2" destOrd="0" presId="urn:microsoft.com/office/officeart/2005/8/layout/hierarchy3"/>
    <dgm:cxn modelId="{6E5D086C-D5FE-4AF7-857F-FA8647C6F78D}" type="presParOf" srcId="{8D01CE45-FB71-4B2F-8080-03B1F5F4DEB5}" destId="{33080A38-A292-49F0-8CAD-FD2C02E715E4}" srcOrd="3" destOrd="0" presId="urn:microsoft.com/office/officeart/2005/8/layout/hierarchy3"/>
    <dgm:cxn modelId="{58D863D7-A5B6-4C24-8D96-5085529C7FF8}" type="presParOf" srcId="{8D01CE45-FB71-4B2F-8080-03B1F5F4DEB5}" destId="{ED8356AA-4FF3-4C94-86D4-33D7492D9366}" srcOrd="4" destOrd="0" presId="urn:microsoft.com/office/officeart/2005/8/layout/hierarchy3"/>
    <dgm:cxn modelId="{C94180D2-80A7-4088-A770-D9ECDBC7478C}" type="presParOf" srcId="{8D01CE45-FB71-4B2F-8080-03B1F5F4DEB5}" destId="{A9500BED-E339-42BC-86E0-49507C8F2259}" srcOrd="5" destOrd="0" presId="urn:microsoft.com/office/officeart/2005/8/layout/hierarchy3"/>
    <dgm:cxn modelId="{68509F3C-701A-4106-8E9F-B735763B4098}" type="presParOf" srcId="{8D01CE45-FB71-4B2F-8080-03B1F5F4DEB5}" destId="{A094DAF6-161A-48A6-B978-DABD7441AB19}" srcOrd="6" destOrd="0" presId="urn:microsoft.com/office/officeart/2005/8/layout/hierarchy3"/>
    <dgm:cxn modelId="{4ECC78DA-CC4A-481B-B938-8C294CB3DA8A}" type="presParOf" srcId="{8D01CE45-FB71-4B2F-8080-03B1F5F4DEB5}" destId="{AF282591-F9D6-4D71-87B7-F071E96D36ED}" srcOrd="7" destOrd="0" presId="urn:microsoft.com/office/officeart/2005/8/layout/hierarchy3"/>
    <dgm:cxn modelId="{9DC4A795-D9A9-4EE3-B619-C85CA1EB4E29}" type="presParOf" srcId="{9B7985EC-B0EF-4343-B642-77C28343B400}" destId="{B5D23DC3-E02C-43C3-AF6A-33F3523254CB}" srcOrd="2" destOrd="0" presId="urn:microsoft.com/office/officeart/2005/8/layout/hierarchy3"/>
    <dgm:cxn modelId="{C4AEAED7-3407-496E-958C-A096F831148D}" type="presParOf" srcId="{B5D23DC3-E02C-43C3-AF6A-33F3523254CB}" destId="{4C2EB443-896C-4637-8823-9D5A5242112F}" srcOrd="0" destOrd="0" presId="urn:microsoft.com/office/officeart/2005/8/layout/hierarchy3"/>
    <dgm:cxn modelId="{C9A1CEEF-8199-4415-9364-403D4398BCF1}" type="presParOf" srcId="{4C2EB443-896C-4637-8823-9D5A5242112F}" destId="{4A1F2038-FA57-4AC2-8252-3ACCDA100695}" srcOrd="0" destOrd="0" presId="urn:microsoft.com/office/officeart/2005/8/layout/hierarchy3"/>
    <dgm:cxn modelId="{CB0C7CB3-CB37-44ED-9C3B-1429E166DF2D}" type="presParOf" srcId="{4C2EB443-896C-4637-8823-9D5A5242112F}" destId="{4A494DA0-FA72-44E1-902B-A8B74A7AFC5A}" srcOrd="1" destOrd="0" presId="urn:microsoft.com/office/officeart/2005/8/layout/hierarchy3"/>
    <dgm:cxn modelId="{7D15D0E8-ED5B-485D-B526-EBC74BEFC5F9}" type="presParOf" srcId="{B5D23DC3-E02C-43C3-AF6A-33F3523254CB}" destId="{B1CED59B-0E8C-4780-AF03-6A8D8134D1DC}" srcOrd="1" destOrd="0" presId="urn:microsoft.com/office/officeart/2005/8/layout/hierarchy3"/>
    <dgm:cxn modelId="{76C40AD9-A901-458F-853C-8FA5CD305F3E}" type="presParOf" srcId="{B1CED59B-0E8C-4780-AF03-6A8D8134D1DC}" destId="{80AEAD2E-F332-49ED-B347-BB757F2051EC}" srcOrd="0" destOrd="0" presId="urn:microsoft.com/office/officeart/2005/8/layout/hierarchy3"/>
    <dgm:cxn modelId="{0B32C2A5-5B97-4939-81AE-890C417A79A4}" type="presParOf" srcId="{B1CED59B-0E8C-4780-AF03-6A8D8134D1DC}" destId="{514CCD24-1E2C-453D-BF22-88DF87AF73A9}" srcOrd="1" destOrd="0" presId="urn:microsoft.com/office/officeart/2005/8/layout/hierarchy3"/>
    <dgm:cxn modelId="{34BE6ECE-64FA-414E-B151-539CD11B606E}" type="presParOf" srcId="{B1CED59B-0E8C-4780-AF03-6A8D8134D1DC}" destId="{AC4AE9B6-DFD3-48C1-9A53-5B6F93D311A8}" srcOrd="2" destOrd="0" presId="urn:microsoft.com/office/officeart/2005/8/layout/hierarchy3"/>
    <dgm:cxn modelId="{F3E8BA79-D68C-4448-AB6E-0144CAE6AA06}" type="presParOf" srcId="{B1CED59B-0E8C-4780-AF03-6A8D8134D1DC}" destId="{B3A7663D-4801-4EEA-BC36-9D7BE3DC1324}" srcOrd="3" destOrd="0" presId="urn:microsoft.com/office/officeart/2005/8/layout/hierarchy3"/>
    <dgm:cxn modelId="{810E8610-6DC4-47BE-BDA3-0CF3252B4543}" type="presParOf" srcId="{B1CED59B-0E8C-4780-AF03-6A8D8134D1DC}" destId="{553F0568-A673-45CB-95BE-4F77D8A4A58F}" srcOrd="4" destOrd="0" presId="urn:microsoft.com/office/officeart/2005/8/layout/hierarchy3"/>
    <dgm:cxn modelId="{E2CC799A-31B0-4840-B216-26456BBE377D}" type="presParOf" srcId="{B1CED59B-0E8C-4780-AF03-6A8D8134D1DC}" destId="{2BC3C2DE-9EAD-4869-A336-94FDD377E048}" srcOrd="5" destOrd="0" presId="urn:microsoft.com/office/officeart/2005/8/layout/hierarchy3"/>
    <dgm:cxn modelId="{7CD7047C-EDB4-4548-8FB4-A9175B7E6650}" type="presParOf" srcId="{B1CED59B-0E8C-4780-AF03-6A8D8134D1DC}" destId="{EAAB32A4-E0E6-4BA2-921B-10C63878908B}" srcOrd="6" destOrd="0" presId="urn:microsoft.com/office/officeart/2005/8/layout/hierarchy3"/>
    <dgm:cxn modelId="{7BD17491-387F-462C-8B3D-0225A13F1BF3}" type="presParOf" srcId="{B1CED59B-0E8C-4780-AF03-6A8D8134D1DC}" destId="{DA1E3552-3CB3-4CD8-8A5E-E9128AFBAF32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647D5B5-1F49-448B-8BEE-EC9D6FBB8B43}">
      <dsp:nvSpPr>
        <dsp:cNvPr id="0" name=""/>
        <dsp:cNvSpPr/>
      </dsp:nvSpPr>
      <dsp:spPr>
        <a:xfrm>
          <a:off x="0" y="0"/>
          <a:ext cx="8416779" cy="4670853"/>
        </a:xfrm>
        <a:prstGeom prst="roundRect">
          <a:avLst>
            <a:gd name="adj" fmla="val 85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3625102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400" b="1" kern="1200" dirty="0">
              <a:solidFill>
                <a:schemeClr val="tx2"/>
              </a:solidFill>
            </a:rPr>
            <a:t>ESTRATEGIA MIDAS</a:t>
          </a:r>
        </a:p>
      </dsp:txBody>
      <dsp:txXfrm>
        <a:off x="116284" y="116284"/>
        <a:ext cx="8184211" cy="4438285"/>
      </dsp:txXfrm>
    </dsp:sp>
    <dsp:sp modelId="{9C760130-1903-4200-B2C4-631269D91204}">
      <dsp:nvSpPr>
        <dsp:cNvPr id="0" name=""/>
        <dsp:cNvSpPr/>
      </dsp:nvSpPr>
      <dsp:spPr>
        <a:xfrm>
          <a:off x="79464" y="1167713"/>
          <a:ext cx="1524425" cy="1614885"/>
        </a:xfrm>
        <a:prstGeom prst="roundRect">
          <a:avLst>
            <a:gd name="adj" fmla="val 105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kern="1200" dirty="0" smtClean="0">
              <a:solidFill>
                <a:schemeClr val="tx2"/>
              </a:solidFill>
            </a:rPr>
            <a:t>Aplicaciones Web y </a:t>
          </a:r>
          <a:r>
            <a:rPr lang="es-CL" sz="1800" kern="1200" dirty="0" err="1" smtClean="0">
              <a:solidFill>
                <a:schemeClr val="tx2"/>
              </a:solidFill>
            </a:rPr>
            <a:t>Mobiles</a:t>
          </a:r>
          <a:r>
            <a:rPr lang="es-CL" sz="1800" kern="1200" dirty="0">
              <a:solidFill>
                <a:schemeClr val="tx2"/>
              </a:solidFill>
            </a:rPr>
            <a:t>	</a:t>
          </a:r>
        </a:p>
      </dsp:txBody>
      <dsp:txXfrm>
        <a:off x="126345" y="1214594"/>
        <a:ext cx="1430663" cy="1521123"/>
      </dsp:txXfrm>
    </dsp:sp>
    <dsp:sp modelId="{49AEEA6C-C052-481A-A249-5C1A0E512060}">
      <dsp:nvSpPr>
        <dsp:cNvPr id="0" name=""/>
        <dsp:cNvSpPr/>
      </dsp:nvSpPr>
      <dsp:spPr>
        <a:xfrm>
          <a:off x="145361" y="2852998"/>
          <a:ext cx="1392631" cy="1579223"/>
        </a:xfrm>
        <a:prstGeom prst="roundRect">
          <a:avLst>
            <a:gd name="adj" fmla="val 105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kern="1200" dirty="0" smtClean="0">
              <a:solidFill>
                <a:schemeClr val="tx2"/>
              </a:solidFill>
            </a:rPr>
            <a:t>Desarrollos propios</a:t>
          </a:r>
          <a:endParaRPr lang="es-CL" sz="1800" kern="1200" dirty="0">
            <a:solidFill>
              <a:schemeClr val="tx2"/>
            </a:solidFill>
          </a:endParaRPr>
        </a:p>
      </dsp:txBody>
      <dsp:txXfrm>
        <a:off x="188189" y="2895826"/>
        <a:ext cx="1306975" cy="1493567"/>
      </dsp:txXfrm>
    </dsp:sp>
    <dsp:sp modelId="{895068AD-B503-405E-8E49-0EC2DD080936}">
      <dsp:nvSpPr>
        <dsp:cNvPr id="0" name=""/>
        <dsp:cNvSpPr/>
      </dsp:nvSpPr>
      <dsp:spPr>
        <a:xfrm>
          <a:off x="1699858" y="691970"/>
          <a:ext cx="6523003" cy="3825658"/>
        </a:xfrm>
        <a:prstGeom prst="roundRect">
          <a:avLst>
            <a:gd name="adj" fmla="val 105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2076195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400" b="1" kern="1200" dirty="0">
              <a:solidFill>
                <a:schemeClr val="tx2"/>
              </a:solidFill>
            </a:rPr>
            <a:t>Modernización de la Autoridad Sanitaria Digital</a:t>
          </a:r>
        </a:p>
      </dsp:txBody>
      <dsp:txXfrm>
        <a:off x="1817510" y="809622"/>
        <a:ext cx="6287699" cy="3590354"/>
      </dsp:txXfrm>
    </dsp:sp>
    <dsp:sp modelId="{D786D3DB-4C57-41F1-9125-FCFED760E966}">
      <dsp:nvSpPr>
        <dsp:cNvPr id="0" name=""/>
        <dsp:cNvSpPr/>
      </dsp:nvSpPr>
      <dsp:spPr>
        <a:xfrm>
          <a:off x="2020875" y="2007275"/>
          <a:ext cx="1367599" cy="908798"/>
        </a:xfrm>
        <a:prstGeom prst="roundRect">
          <a:avLst>
            <a:gd name="adj" fmla="val 105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300" kern="1200" dirty="0">
              <a:solidFill>
                <a:schemeClr val="tx2"/>
              </a:solidFill>
            </a:rPr>
            <a:t>Requerimientos técnicos	</a:t>
          </a:r>
        </a:p>
      </dsp:txBody>
      <dsp:txXfrm>
        <a:off x="2048824" y="2035224"/>
        <a:ext cx="1311701" cy="852900"/>
      </dsp:txXfrm>
    </dsp:sp>
    <dsp:sp modelId="{4C1355E5-040F-4831-B300-B342063BA564}">
      <dsp:nvSpPr>
        <dsp:cNvPr id="0" name=""/>
        <dsp:cNvSpPr/>
      </dsp:nvSpPr>
      <dsp:spPr>
        <a:xfrm>
          <a:off x="2026087" y="3199523"/>
          <a:ext cx="1340712" cy="908798"/>
        </a:xfrm>
        <a:prstGeom prst="roundRect">
          <a:avLst>
            <a:gd name="adj" fmla="val 105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300" kern="1200" dirty="0">
              <a:solidFill>
                <a:schemeClr val="tx2"/>
              </a:solidFill>
            </a:rPr>
            <a:t>Requerimientos  funcionales</a:t>
          </a:r>
        </a:p>
      </dsp:txBody>
      <dsp:txXfrm>
        <a:off x="2054036" y="3227472"/>
        <a:ext cx="1284814" cy="852900"/>
      </dsp:txXfrm>
    </dsp:sp>
    <dsp:sp modelId="{6EB97C69-8D6A-432B-911E-1E87B3FE34ED}">
      <dsp:nvSpPr>
        <dsp:cNvPr id="0" name=""/>
        <dsp:cNvSpPr/>
      </dsp:nvSpPr>
      <dsp:spPr>
        <a:xfrm>
          <a:off x="3729256" y="1935891"/>
          <a:ext cx="3862054" cy="2271996"/>
        </a:xfrm>
        <a:prstGeom prst="roundRect">
          <a:avLst>
            <a:gd name="adj" fmla="val 105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170688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2400" b="1" kern="1200" dirty="0">
            <a:solidFill>
              <a:schemeClr val="tx2"/>
            </a:solidFill>
          </a:endParaRPr>
        </a:p>
      </dsp:txBody>
      <dsp:txXfrm>
        <a:off x="3799128" y="2005763"/>
        <a:ext cx="3722310" cy="213225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FBE2F9-03D1-4CFD-BEFE-0588AD84920C}">
      <dsp:nvSpPr>
        <dsp:cNvPr id="0" name=""/>
        <dsp:cNvSpPr/>
      </dsp:nvSpPr>
      <dsp:spPr>
        <a:xfrm>
          <a:off x="2304624" y="69361"/>
          <a:ext cx="3329357" cy="3329357"/>
        </a:xfrm>
        <a:prstGeom prst="ellipse">
          <a:avLst/>
        </a:prstGeom>
        <a:gradFill rotWithShape="0">
          <a:gsLst>
            <a:gs pos="0">
              <a:schemeClr val="accent3">
                <a:alpha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alpha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alpha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/>
            <a:t>Profesionales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/>
            <a:t>Multidisciplinarios</a:t>
          </a:r>
          <a:r>
            <a:rPr lang="es-ES" sz="1600" b="1" kern="1200" dirty="0" smtClean="0"/>
            <a:t> de MINSAL </a:t>
          </a:r>
          <a:r>
            <a:rPr lang="es-ES" sz="1600" b="1" kern="1200" dirty="0"/>
            <a:t>(5</a:t>
          </a:r>
          <a:r>
            <a:rPr lang="es-ES" sz="2000" b="1" kern="1200" dirty="0"/>
            <a:t>)</a:t>
          </a:r>
        </a:p>
      </dsp:txBody>
      <dsp:txXfrm>
        <a:off x="2748538" y="651999"/>
        <a:ext cx="2441528" cy="1498210"/>
      </dsp:txXfrm>
    </dsp:sp>
    <dsp:sp modelId="{05CB87CC-28C6-4CB1-891B-B2FEF41BA91F}">
      <dsp:nvSpPr>
        <dsp:cNvPr id="0" name=""/>
        <dsp:cNvSpPr/>
      </dsp:nvSpPr>
      <dsp:spPr>
        <a:xfrm>
          <a:off x="3505967" y="2150209"/>
          <a:ext cx="3329357" cy="3329357"/>
        </a:xfrm>
        <a:prstGeom prst="ellipse">
          <a:avLst/>
        </a:prstGeom>
        <a:gradFill rotWithShape="0">
          <a:gsLst>
            <a:gs pos="0">
              <a:schemeClr val="accent3">
                <a:alpha val="50000"/>
                <a:hueOff val="5807935"/>
                <a:satOff val="1917"/>
                <a:lumOff val="-1567"/>
                <a:alphaOff val="0"/>
                <a:shade val="51000"/>
                <a:satMod val="130000"/>
              </a:schemeClr>
            </a:gs>
            <a:gs pos="80000">
              <a:schemeClr val="accent3">
                <a:alpha val="50000"/>
                <a:hueOff val="5807935"/>
                <a:satOff val="1917"/>
                <a:lumOff val="-1567"/>
                <a:alphaOff val="0"/>
                <a:shade val="93000"/>
                <a:satMod val="130000"/>
              </a:schemeClr>
            </a:gs>
            <a:gs pos="100000">
              <a:schemeClr val="accent3">
                <a:alpha val="50000"/>
                <a:hueOff val="5807935"/>
                <a:satOff val="1917"/>
                <a:lumOff val="-156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>
              <a:solidFill>
                <a:schemeClr val="bg1"/>
              </a:solidFill>
            </a:rPr>
            <a:t>Desarrolladores </a:t>
          </a:r>
          <a:r>
            <a:rPr lang="es-ES" sz="2000" b="1" kern="1200" dirty="0">
              <a:solidFill>
                <a:schemeClr val="bg1"/>
              </a:solidFill>
            </a:rPr>
            <a:t>(12)</a:t>
          </a:r>
        </a:p>
      </dsp:txBody>
      <dsp:txXfrm>
        <a:off x="4524195" y="3010293"/>
        <a:ext cx="1997614" cy="1831146"/>
      </dsp:txXfrm>
    </dsp:sp>
    <dsp:sp modelId="{9B8FC8C5-E3B1-4CE7-9349-869C1D5F919C}">
      <dsp:nvSpPr>
        <dsp:cNvPr id="0" name=""/>
        <dsp:cNvSpPr/>
      </dsp:nvSpPr>
      <dsp:spPr>
        <a:xfrm>
          <a:off x="1103281" y="2150209"/>
          <a:ext cx="3329357" cy="3329357"/>
        </a:xfrm>
        <a:prstGeom prst="ellipse">
          <a:avLst/>
        </a:prstGeom>
        <a:gradFill rotWithShape="0">
          <a:gsLst>
            <a:gs pos="0">
              <a:schemeClr val="accent3">
                <a:alpha val="50000"/>
                <a:hueOff val="11615869"/>
                <a:satOff val="3833"/>
                <a:lumOff val="-3135"/>
                <a:alphaOff val="0"/>
                <a:shade val="51000"/>
                <a:satMod val="130000"/>
              </a:schemeClr>
            </a:gs>
            <a:gs pos="80000">
              <a:schemeClr val="accent3">
                <a:alpha val="50000"/>
                <a:hueOff val="11615869"/>
                <a:satOff val="3833"/>
                <a:lumOff val="-3135"/>
                <a:alphaOff val="0"/>
                <a:shade val="93000"/>
                <a:satMod val="130000"/>
              </a:schemeClr>
            </a:gs>
            <a:gs pos="100000">
              <a:schemeClr val="accent3">
                <a:alpha val="50000"/>
                <a:hueOff val="11615869"/>
                <a:satOff val="3833"/>
                <a:lumOff val="-313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/>
            <a:t>Mesa de </a:t>
          </a:r>
          <a:r>
            <a:rPr lang="es-ES" sz="2000" b="1" kern="1200" dirty="0" smtClean="0"/>
            <a:t>Ayuda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/>
            <a:t>Técnica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/>
            <a:t> </a:t>
          </a:r>
          <a:r>
            <a:rPr lang="es-ES" sz="2000" b="1" kern="1200" dirty="0"/>
            <a:t>(3)</a:t>
          </a:r>
        </a:p>
      </dsp:txBody>
      <dsp:txXfrm>
        <a:off x="1416795" y="3010293"/>
        <a:ext cx="1997614" cy="183114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36CD1C-4CDD-455D-9997-CCE8CF7F334A}">
      <dsp:nvSpPr>
        <dsp:cNvPr id="0" name=""/>
        <dsp:cNvSpPr/>
      </dsp:nvSpPr>
      <dsp:spPr>
        <a:xfrm>
          <a:off x="106089" y="0"/>
          <a:ext cx="2137353" cy="774650"/>
        </a:xfrm>
        <a:prstGeom prst="roundRect">
          <a:avLst>
            <a:gd name="adj" fmla="val 10000"/>
          </a:avLst>
        </a:prstGeom>
        <a:solidFill>
          <a:srgbClr val="00999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/>
            <a:t>TRAMITES ASD</a:t>
          </a:r>
        </a:p>
      </dsp:txBody>
      <dsp:txXfrm>
        <a:off x="128778" y="22689"/>
        <a:ext cx="2091975" cy="729272"/>
      </dsp:txXfrm>
    </dsp:sp>
    <dsp:sp modelId="{E0CA4CE8-DF13-4590-987B-E1F14878D0D0}">
      <dsp:nvSpPr>
        <dsp:cNvPr id="0" name=""/>
        <dsp:cNvSpPr/>
      </dsp:nvSpPr>
      <dsp:spPr>
        <a:xfrm>
          <a:off x="319824" y="774650"/>
          <a:ext cx="213843" cy="10836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83641"/>
              </a:lnTo>
              <a:lnTo>
                <a:pt x="213843" y="1083641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5CC0D6-A987-4F3E-A514-4EB36E1C05A6}">
      <dsp:nvSpPr>
        <dsp:cNvPr id="0" name=""/>
        <dsp:cNvSpPr/>
      </dsp:nvSpPr>
      <dsp:spPr>
        <a:xfrm>
          <a:off x="533668" y="1104971"/>
          <a:ext cx="1737051" cy="1506640"/>
        </a:xfrm>
        <a:prstGeom prst="roundRect">
          <a:avLst>
            <a:gd name="adj" fmla="val 10000"/>
          </a:avLst>
        </a:prstGeom>
        <a:solidFill>
          <a:srgbClr val="D1F7EA">
            <a:alpha val="89804"/>
          </a:srgbClr>
        </a:solidFill>
        <a:ln w="9525" cap="flat" cmpd="sng" algn="ctr">
          <a:solidFill>
            <a:srgbClr val="00808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 smtClean="0">
              <a:solidFill>
                <a:srgbClr val="1B1B1B"/>
              </a:solidFill>
            </a:rPr>
            <a:t>Formalización: </a:t>
          </a:r>
          <a:r>
            <a:rPr lang="es-CL" sz="1100" b="0" kern="1200" dirty="0" smtClean="0">
              <a:solidFill>
                <a:srgbClr val="1B1B1B"/>
              </a:solidFill>
            </a:rPr>
            <a:t>Acto administrativo donde se certifica que se cumple con los requisitos sanitarios a las instalaciones, personas o procedimientos a través de un pronunciamiento   </a:t>
          </a:r>
          <a:endParaRPr lang="es-CL" sz="1100" b="0" kern="1200" dirty="0">
            <a:solidFill>
              <a:srgbClr val="1B1B1B"/>
            </a:solidFill>
          </a:endParaRPr>
        </a:p>
      </dsp:txBody>
      <dsp:txXfrm>
        <a:off x="577796" y="1149099"/>
        <a:ext cx="1648795" cy="1418384"/>
      </dsp:txXfrm>
    </dsp:sp>
    <dsp:sp modelId="{2090B7D8-B3E0-4B2F-AFC1-6E82D4E32AFB}">
      <dsp:nvSpPr>
        <dsp:cNvPr id="0" name=""/>
        <dsp:cNvSpPr/>
      </dsp:nvSpPr>
      <dsp:spPr>
        <a:xfrm>
          <a:off x="319824" y="774650"/>
          <a:ext cx="213843" cy="24297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29701"/>
              </a:lnTo>
              <a:lnTo>
                <a:pt x="213843" y="2429701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FB85B1-0560-4612-929C-E666117661C5}">
      <dsp:nvSpPr>
        <dsp:cNvPr id="0" name=""/>
        <dsp:cNvSpPr/>
      </dsp:nvSpPr>
      <dsp:spPr>
        <a:xfrm>
          <a:off x="533668" y="2817026"/>
          <a:ext cx="1717257" cy="774650"/>
        </a:xfrm>
        <a:prstGeom prst="roundRect">
          <a:avLst>
            <a:gd name="adj" fmla="val 10000"/>
          </a:avLst>
        </a:prstGeom>
        <a:solidFill>
          <a:srgbClr val="D1F7EA">
            <a:alpha val="90000"/>
          </a:srgbClr>
        </a:solidFill>
        <a:ln w="9525" cap="flat" cmpd="sng" algn="ctr">
          <a:solidFill>
            <a:srgbClr val="00808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Referente: </a:t>
          </a:r>
          <a:r>
            <a:rPr lang="es-CL" sz="1100" b="0" kern="1200" dirty="0">
              <a:solidFill>
                <a:srgbClr val="1B1B1B"/>
              </a:solidFill>
            </a:rPr>
            <a:t>Sus referentes pertenecen a DIPOL </a:t>
          </a:r>
        </a:p>
      </dsp:txBody>
      <dsp:txXfrm>
        <a:off x="556357" y="2839715"/>
        <a:ext cx="1671879" cy="729272"/>
      </dsp:txXfrm>
    </dsp:sp>
    <dsp:sp modelId="{231CFEE3-EF12-4482-A39F-04BAC3EAFDD4}">
      <dsp:nvSpPr>
        <dsp:cNvPr id="0" name=""/>
        <dsp:cNvSpPr/>
      </dsp:nvSpPr>
      <dsp:spPr>
        <a:xfrm>
          <a:off x="319824" y="774650"/>
          <a:ext cx="213843" cy="33862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86262"/>
              </a:lnTo>
              <a:lnTo>
                <a:pt x="213843" y="3386262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F2D5B3F-8873-4D01-A72A-E045084A3BEB}">
      <dsp:nvSpPr>
        <dsp:cNvPr id="0" name=""/>
        <dsp:cNvSpPr/>
      </dsp:nvSpPr>
      <dsp:spPr>
        <a:xfrm>
          <a:off x="533668" y="3773588"/>
          <a:ext cx="1681722" cy="774650"/>
        </a:xfrm>
        <a:prstGeom prst="roundRect">
          <a:avLst>
            <a:gd name="adj" fmla="val 10000"/>
          </a:avLst>
        </a:prstGeom>
        <a:solidFill>
          <a:srgbClr val="D1F7EA">
            <a:alpha val="90000"/>
          </a:srgbClr>
        </a:solidFill>
        <a:ln w="9525" cap="flat" cmpd="sng" algn="ctr">
          <a:solidFill>
            <a:srgbClr val="00808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Impacto (+): </a:t>
          </a:r>
          <a:r>
            <a:rPr lang="es-CL" sz="1100" b="0" kern="1200" dirty="0">
              <a:solidFill>
                <a:srgbClr val="1B1B1B"/>
              </a:solidFill>
            </a:rPr>
            <a:t>Digitalización de trámites de la autoridad sanitaria  </a:t>
          </a:r>
        </a:p>
      </dsp:txBody>
      <dsp:txXfrm>
        <a:off x="556357" y="3796277"/>
        <a:ext cx="1636344" cy="729272"/>
      </dsp:txXfrm>
    </dsp:sp>
    <dsp:sp modelId="{7B33427B-A5D7-45FA-9C9F-3604B9916F97}">
      <dsp:nvSpPr>
        <dsp:cNvPr id="0" name=""/>
        <dsp:cNvSpPr/>
      </dsp:nvSpPr>
      <dsp:spPr>
        <a:xfrm>
          <a:off x="2533378" y="0"/>
          <a:ext cx="2175698" cy="774650"/>
        </a:xfrm>
        <a:prstGeom prst="roundRect">
          <a:avLst>
            <a:gd name="adj" fmla="val 10000"/>
          </a:avLst>
        </a:prstGeom>
        <a:solidFill>
          <a:srgbClr val="B233D5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/>
            <a:t>RECAUDACIÓN</a:t>
          </a:r>
        </a:p>
      </dsp:txBody>
      <dsp:txXfrm>
        <a:off x="2556067" y="22689"/>
        <a:ext cx="2130320" cy="729272"/>
      </dsp:txXfrm>
    </dsp:sp>
    <dsp:sp modelId="{84099D88-DA45-493B-BC00-2EF75A9E221B}">
      <dsp:nvSpPr>
        <dsp:cNvPr id="0" name=""/>
        <dsp:cNvSpPr/>
      </dsp:nvSpPr>
      <dsp:spPr>
        <a:xfrm>
          <a:off x="2750948" y="774650"/>
          <a:ext cx="219717" cy="8288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28816"/>
              </a:lnTo>
              <a:lnTo>
                <a:pt x="219717" y="828816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40BAC0-730F-468C-A268-4CE337B40F55}">
      <dsp:nvSpPr>
        <dsp:cNvPr id="0" name=""/>
        <dsp:cNvSpPr/>
      </dsp:nvSpPr>
      <dsp:spPr>
        <a:xfrm>
          <a:off x="2970665" y="1091593"/>
          <a:ext cx="1371614" cy="1023746"/>
        </a:xfrm>
        <a:prstGeom prst="roundRect">
          <a:avLst>
            <a:gd name="adj" fmla="val 10000"/>
          </a:avLst>
        </a:prstGeom>
        <a:solidFill>
          <a:srgbClr val="E7E7FF">
            <a:alpha val="89804"/>
          </a:srgbClr>
        </a:solidFill>
        <a:ln w="9525" cap="flat" cmpd="sng" algn="ctr">
          <a:solidFill>
            <a:srgbClr val="770EB2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Objetivo: </a:t>
          </a:r>
          <a:r>
            <a:rPr lang="es-CL" sz="1100" b="0" kern="1200" dirty="0" smtClean="0">
              <a:solidFill>
                <a:srgbClr val="1B1B1B"/>
              </a:solidFill>
            </a:rPr>
            <a:t>Control de los ingresos por concepto de aranceles y multas de la autoridad sanitaria</a:t>
          </a:r>
          <a:endParaRPr lang="es-CL" sz="2000" b="0" kern="1200" dirty="0">
            <a:solidFill>
              <a:srgbClr val="1B1B1B"/>
            </a:solidFill>
          </a:endParaRPr>
        </a:p>
      </dsp:txBody>
      <dsp:txXfrm>
        <a:off x="3000649" y="1121577"/>
        <a:ext cx="1311646" cy="963778"/>
      </dsp:txXfrm>
    </dsp:sp>
    <dsp:sp modelId="{ED8356AA-4FF3-4C94-86D4-33D7492D9366}">
      <dsp:nvSpPr>
        <dsp:cNvPr id="0" name=""/>
        <dsp:cNvSpPr/>
      </dsp:nvSpPr>
      <dsp:spPr>
        <a:xfrm>
          <a:off x="2750948" y="774650"/>
          <a:ext cx="194990" cy="19347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34746"/>
              </a:lnTo>
              <a:lnTo>
                <a:pt x="194990" y="1934746"/>
              </a:lnTo>
            </a:path>
          </a:pathLst>
        </a:custGeom>
        <a:noFill/>
        <a:ln w="25400" cap="flat" cmpd="sng" algn="ctr">
          <a:solidFill>
            <a:schemeClr val="accent6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9500BED-E339-42BC-86E0-49507C8F2259}">
      <dsp:nvSpPr>
        <dsp:cNvPr id="0" name=""/>
        <dsp:cNvSpPr/>
      </dsp:nvSpPr>
      <dsp:spPr>
        <a:xfrm>
          <a:off x="2945939" y="2309003"/>
          <a:ext cx="1367573" cy="800787"/>
        </a:xfrm>
        <a:prstGeom prst="roundRect">
          <a:avLst>
            <a:gd name="adj" fmla="val 10000"/>
          </a:avLst>
        </a:prstGeom>
        <a:solidFill>
          <a:srgbClr val="E7E7FF">
            <a:alpha val="90000"/>
          </a:srgbClr>
        </a:solidFill>
        <a:ln w="9525" cap="flat" cmpd="sng" algn="ctr">
          <a:solidFill>
            <a:srgbClr val="770EB2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Referente: </a:t>
          </a:r>
          <a:r>
            <a:rPr lang="es-CL" sz="1100" b="0" kern="1200" dirty="0">
              <a:solidFill>
                <a:srgbClr val="1B1B1B"/>
              </a:solidFill>
            </a:rPr>
            <a:t>Ámbito finanzas central /DIFAI </a:t>
          </a:r>
        </a:p>
      </dsp:txBody>
      <dsp:txXfrm>
        <a:off x="2969393" y="2332457"/>
        <a:ext cx="1320665" cy="753879"/>
      </dsp:txXfrm>
    </dsp:sp>
    <dsp:sp modelId="{A094DAF6-161A-48A6-B978-DABD7441AB19}">
      <dsp:nvSpPr>
        <dsp:cNvPr id="0" name=""/>
        <dsp:cNvSpPr/>
      </dsp:nvSpPr>
      <dsp:spPr>
        <a:xfrm>
          <a:off x="2750948" y="774650"/>
          <a:ext cx="170350" cy="28986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98624"/>
              </a:lnTo>
              <a:lnTo>
                <a:pt x="170350" y="2898624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282591-F9D6-4D71-87B7-F071E96D36ED}">
      <dsp:nvSpPr>
        <dsp:cNvPr id="0" name=""/>
        <dsp:cNvSpPr/>
      </dsp:nvSpPr>
      <dsp:spPr>
        <a:xfrm>
          <a:off x="2921299" y="3303452"/>
          <a:ext cx="1416841" cy="739643"/>
        </a:xfrm>
        <a:prstGeom prst="roundRect">
          <a:avLst>
            <a:gd name="adj" fmla="val 10000"/>
          </a:avLst>
        </a:prstGeom>
        <a:solidFill>
          <a:srgbClr val="E7E7FF">
            <a:alpha val="90000"/>
          </a:srgbClr>
        </a:solidFill>
        <a:ln w="9525" cap="flat" cmpd="sng" algn="ctr">
          <a:solidFill>
            <a:srgbClr val="770EB2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Impacto </a:t>
          </a:r>
          <a:r>
            <a:rPr lang="es-CL" sz="1100" b="1" kern="1200" dirty="0" smtClean="0">
              <a:solidFill>
                <a:srgbClr val="1B1B1B"/>
              </a:solidFill>
            </a:rPr>
            <a:t>(+):2018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b="1" kern="1200" dirty="0" smtClean="0">
              <a:solidFill>
                <a:srgbClr val="1B1B1B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$35.585.737.400 </a:t>
          </a:r>
          <a:endParaRPr lang="es-CL" sz="1200" b="0" kern="1200" dirty="0">
            <a:solidFill>
              <a:srgbClr val="1B1B1B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942962" y="3325115"/>
        <a:ext cx="1373515" cy="696317"/>
      </dsp:txXfrm>
    </dsp:sp>
    <dsp:sp modelId="{4A1F2038-FA57-4AC2-8252-3ACCDA100695}">
      <dsp:nvSpPr>
        <dsp:cNvPr id="0" name=""/>
        <dsp:cNvSpPr/>
      </dsp:nvSpPr>
      <dsp:spPr>
        <a:xfrm>
          <a:off x="4969669" y="0"/>
          <a:ext cx="1697274" cy="790414"/>
        </a:xfrm>
        <a:prstGeom prst="roundRect">
          <a:avLst>
            <a:gd name="adj" fmla="val 10000"/>
          </a:avLst>
        </a:prstGeom>
        <a:solidFill>
          <a:srgbClr val="FF993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/>
            <a:t>SALUD MENTAL</a:t>
          </a:r>
        </a:p>
      </dsp:txBody>
      <dsp:txXfrm>
        <a:off x="4992819" y="23150"/>
        <a:ext cx="1650974" cy="744114"/>
      </dsp:txXfrm>
    </dsp:sp>
    <dsp:sp modelId="{80AEAD2E-F332-49ED-B347-BB757F2051EC}">
      <dsp:nvSpPr>
        <dsp:cNvPr id="0" name=""/>
        <dsp:cNvSpPr/>
      </dsp:nvSpPr>
      <dsp:spPr>
        <a:xfrm>
          <a:off x="5139397" y="790414"/>
          <a:ext cx="192573" cy="10326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32638"/>
              </a:lnTo>
              <a:lnTo>
                <a:pt x="192573" y="1032638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4CCD24-1E2C-453D-BF22-88DF87AF73A9}">
      <dsp:nvSpPr>
        <dsp:cNvPr id="0" name=""/>
        <dsp:cNvSpPr/>
      </dsp:nvSpPr>
      <dsp:spPr>
        <a:xfrm>
          <a:off x="5331970" y="1108984"/>
          <a:ext cx="1506986" cy="1428137"/>
        </a:xfrm>
        <a:prstGeom prst="roundRect">
          <a:avLst>
            <a:gd name="adj" fmla="val 10000"/>
          </a:avLst>
        </a:prstGeom>
        <a:solidFill>
          <a:srgbClr val="FFE2C5">
            <a:alpha val="89804"/>
          </a:srgb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0" kern="1200" dirty="0" smtClean="0">
              <a:solidFill>
                <a:srgbClr val="1B1B1B"/>
              </a:solidFill>
            </a:rPr>
            <a:t>Vela por la facultad que tiene la autoridad sanitaria sobre el procedimiento de hospitalizaciones psiquiátricas administrativas involuntarias</a:t>
          </a:r>
          <a:endParaRPr lang="es-CL" sz="1100" b="0" kern="1200" dirty="0">
            <a:solidFill>
              <a:srgbClr val="1B1B1B"/>
            </a:solidFill>
          </a:endParaRPr>
        </a:p>
      </dsp:txBody>
      <dsp:txXfrm>
        <a:off x="5373799" y="1150813"/>
        <a:ext cx="1423328" cy="1344479"/>
      </dsp:txXfrm>
    </dsp:sp>
    <dsp:sp modelId="{AC4AE9B6-DFD3-48C1-9A53-5B6F93D311A8}">
      <dsp:nvSpPr>
        <dsp:cNvPr id="0" name=""/>
        <dsp:cNvSpPr/>
      </dsp:nvSpPr>
      <dsp:spPr>
        <a:xfrm>
          <a:off x="5139397" y="790414"/>
          <a:ext cx="217709" cy="28271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27139"/>
              </a:lnTo>
              <a:lnTo>
                <a:pt x="217709" y="2827139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A7663D-4801-4EEA-BC36-9D7BE3DC1324}">
      <dsp:nvSpPr>
        <dsp:cNvPr id="0" name=""/>
        <dsp:cNvSpPr/>
      </dsp:nvSpPr>
      <dsp:spPr>
        <a:xfrm>
          <a:off x="5357106" y="2869028"/>
          <a:ext cx="1521301" cy="1497050"/>
        </a:xfrm>
        <a:prstGeom prst="roundRect">
          <a:avLst>
            <a:gd name="adj" fmla="val 10000"/>
          </a:avLst>
        </a:prstGeom>
        <a:solidFill>
          <a:srgbClr val="FFE2C5">
            <a:alpha val="90000"/>
          </a:srgb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0" kern="1200" dirty="0" smtClean="0">
              <a:solidFill>
                <a:srgbClr val="1B1B1B"/>
              </a:solidFill>
              <a:latin typeface="+mn-lt"/>
            </a:rPr>
            <a:t>Permite el monitoreo de las solicitudes de los establecimientos de salud/lista de espera/hospitalizaciones/alta de las hospitalizaciones psiquiátricas de carácter involuntario</a:t>
          </a:r>
          <a:endParaRPr lang="es-CL" sz="1100" b="0" kern="1200" dirty="0">
            <a:solidFill>
              <a:srgbClr val="1B1B1B"/>
            </a:solidFill>
            <a:latin typeface="+mn-lt"/>
          </a:endParaRPr>
        </a:p>
      </dsp:txBody>
      <dsp:txXfrm>
        <a:off x="5400953" y="2912875"/>
        <a:ext cx="1433607" cy="1409356"/>
      </dsp:txXfrm>
    </dsp:sp>
    <dsp:sp modelId="{553F0568-A673-45CB-95BE-4F77D8A4A58F}">
      <dsp:nvSpPr>
        <dsp:cNvPr id="0" name=""/>
        <dsp:cNvSpPr/>
      </dsp:nvSpPr>
      <dsp:spPr>
        <a:xfrm>
          <a:off x="5139397" y="790414"/>
          <a:ext cx="223856" cy="422457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24570"/>
              </a:lnTo>
              <a:lnTo>
                <a:pt x="223856" y="4224570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BC3C2DE-9EAD-4869-A336-94FDD377E048}">
      <dsp:nvSpPr>
        <dsp:cNvPr id="0" name=""/>
        <dsp:cNvSpPr/>
      </dsp:nvSpPr>
      <dsp:spPr>
        <a:xfrm>
          <a:off x="5363254" y="4614440"/>
          <a:ext cx="1482172" cy="801089"/>
        </a:xfrm>
        <a:prstGeom prst="roundRect">
          <a:avLst>
            <a:gd name="adj" fmla="val 10000"/>
          </a:avLst>
        </a:prstGeom>
        <a:solidFill>
          <a:srgbClr val="FFE2C5">
            <a:alpha val="90000"/>
          </a:srgb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Referente: </a:t>
          </a:r>
          <a:r>
            <a:rPr lang="es-CL" sz="1100" b="0" kern="1200" dirty="0">
              <a:solidFill>
                <a:srgbClr val="1B1B1B"/>
              </a:solidFill>
            </a:rPr>
            <a:t>Departamento Salud Mental / DIPRECE</a:t>
          </a:r>
          <a:endParaRPr lang="es-CL" sz="2000" b="0" kern="1200" dirty="0">
            <a:solidFill>
              <a:srgbClr val="1B1B1B"/>
            </a:solidFill>
          </a:endParaRPr>
        </a:p>
      </dsp:txBody>
      <dsp:txXfrm>
        <a:off x="5386717" y="4637903"/>
        <a:ext cx="1435246" cy="754163"/>
      </dsp:txXfrm>
    </dsp:sp>
    <dsp:sp modelId="{1E16444F-7FBB-4384-AD05-F603ADBD0287}">
      <dsp:nvSpPr>
        <dsp:cNvPr id="0" name=""/>
        <dsp:cNvSpPr/>
      </dsp:nvSpPr>
      <dsp:spPr>
        <a:xfrm>
          <a:off x="7016668" y="0"/>
          <a:ext cx="1786669" cy="755423"/>
        </a:xfrm>
        <a:prstGeom prst="roundRect">
          <a:avLst>
            <a:gd name="adj" fmla="val 10000"/>
          </a:avLst>
        </a:prstGeom>
        <a:solidFill>
          <a:schemeClr val="accent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kern="1200" dirty="0"/>
            <a:t>MORDEDORES</a:t>
          </a:r>
        </a:p>
      </dsp:txBody>
      <dsp:txXfrm>
        <a:off x="7038794" y="22126"/>
        <a:ext cx="1742417" cy="711171"/>
      </dsp:txXfrm>
    </dsp:sp>
    <dsp:sp modelId="{3468509C-395C-4CAA-8031-56300B0F5235}">
      <dsp:nvSpPr>
        <dsp:cNvPr id="0" name=""/>
        <dsp:cNvSpPr/>
      </dsp:nvSpPr>
      <dsp:spPr>
        <a:xfrm>
          <a:off x="7195334" y="755423"/>
          <a:ext cx="164153" cy="7863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86369"/>
              </a:lnTo>
              <a:lnTo>
                <a:pt x="164153" y="78636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CF6715-6666-40F0-95F7-7B160E03C7CC}">
      <dsp:nvSpPr>
        <dsp:cNvPr id="0" name=""/>
        <dsp:cNvSpPr/>
      </dsp:nvSpPr>
      <dsp:spPr>
        <a:xfrm>
          <a:off x="7359488" y="1092980"/>
          <a:ext cx="1591218" cy="897626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Objetivo: </a:t>
          </a:r>
          <a:r>
            <a:rPr lang="es-CL" sz="1100" b="1" kern="1200" dirty="0" smtClean="0">
              <a:solidFill>
                <a:srgbClr val="1B1B1B"/>
              </a:solidFill>
            </a:rPr>
            <a:t>Vigilancia de la rabia: </a:t>
          </a:r>
          <a:r>
            <a:rPr lang="es-CL" sz="1100" b="0" kern="1200" dirty="0" smtClean="0">
              <a:solidFill>
                <a:srgbClr val="1B1B1B"/>
              </a:solidFill>
            </a:rPr>
            <a:t>Permite el registro de notificación de las mordeduras por los establecimientos de salud.</a:t>
          </a:r>
          <a:endParaRPr lang="es-CL" sz="1100" b="0" kern="1200" dirty="0">
            <a:solidFill>
              <a:srgbClr val="1B1B1B"/>
            </a:solidFill>
          </a:endParaRPr>
        </a:p>
      </dsp:txBody>
      <dsp:txXfrm>
        <a:off x="7385779" y="1119271"/>
        <a:ext cx="1538636" cy="845044"/>
      </dsp:txXfrm>
    </dsp:sp>
    <dsp:sp modelId="{46304A66-8EF0-46E0-A0F4-2DF3234AD846}">
      <dsp:nvSpPr>
        <dsp:cNvPr id="0" name=""/>
        <dsp:cNvSpPr/>
      </dsp:nvSpPr>
      <dsp:spPr>
        <a:xfrm>
          <a:off x="7195334" y="755423"/>
          <a:ext cx="172593" cy="19874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87438"/>
              </a:lnTo>
              <a:lnTo>
                <a:pt x="172593" y="198743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EB9B09-F3A1-4BBA-BC84-08C74AB13F65}">
      <dsp:nvSpPr>
        <dsp:cNvPr id="0" name=""/>
        <dsp:cNvSpPr/>
      </dsp:nvSpPr>
      <dsp:spPr>
        <a:xfrm>
          <a:off x="7367928" y="2249533"/>
          <a:ext cx="1612301" cy="986656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0" kern="1200" dirty="0" smtClean="0">
              <a:solidFill>
                <a:srgbClr val="1B1B1B"/>
              </a:solidFill>
              <a:latin typeface="+mn-lt"/>
            </a:rPr>
            <a:t>El registro de la observación del animal mordedor vista en terreno con una aplicación móvil</a:t>
          </a:r>
          <a:endParaRPr lang="es-CL" sz="1100" kern="1200" dirty="0">
            <a:solidFill>
              <a:srgbClr val="1B1B1B"/>
            </a:solidFill>
            <a:latin typeface="+mn-lt"/>
          </a:endParaRPr>
        </a:p>
      </dsp:txBody>
      <dsp:txXfrm>
        <a:off x="7396826" y="2278431"/>
        <a:ext cx="1554505" cy="928860"/>
      </dsp:txXfrm>
    </dsp:sp>
    <dsp:sp modelId="{21A0268F-B372-4F1C-BDD7-D8778538F1BD}">
      <dsp:nvSpPr>
        <dsp:cNvPr id="0" name=""/>
        <dsp:cNvSpPr/>
      </dsp:nvSpPr>
      <dsp:spPr>
        <a:xfrm>
          <a:off x="7195334" y="755423"/>
          <a:ext cx="186165" cy="30871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87147"/>
              </a:lnTo>
              <a:lnTo>
                <a:pt x="186165" y="308714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BB35D1-D584-4E83-ACBD-497A735838F3}">
      <dsp:nvSpPr>
        <dsp:cNvPr id="0" name=""/>
        <dsp:cNvSpPr/>
      </dsp:nvSpPr>
      <dsp:spPr>
        <a:xfrm>
          <a:off x="7381500" y="3455245"/>
          <a:ext cx="1544541" cy="774650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0" kern="1200" dirty="0" smtClean="0">
              <a:solidFill>
                <a:srgbClr val="1B1B1B"/>
              </a:solidFill>
            </a:rPr>
            <a:t>Control de vacunas </a:t>
          </a:r>
          <a:r>
            <a:rPr lang="es-CL" sz="1100" b="0" kern="1200" dirty="0" err="1" smtClean="0">
              <a:solidFill>
                <a:srgbClr val="1B1B1B"/>
              </a:solidFill>
            </a:rPr>
            <a:t>antirrabicas</a:t>
          </a:r>
          <a:endParaRPr lang="es-CL" sz="1100" b="0" kern="1200" dirty="0">
            <a:solidFill>
              <a:srgbClr val="1B1B1B"/>
            </a:solidFill>
          </a:endParaRPr>
        </a:p>
      </dsp:txBody>
      <dsp:txXfrm>
        <a:off x="7404189" y="3477934"/>
        <a:ext cx="1499163" cy="729272"/>
      </dsp:txXfrm>
    </dsp:sp>
    <dsp:sp modelId="{9905323C-1E59-4D05-AA1E-B7EE7C23098B}">
      <dsp:nvSpPr>
        <dsp:cNvPr id="0" name=""/>
        <dsp:cNvSpPr/>
      </dsp:nvSpPr>
      <dsp:spPr>
        <a:xfrm>
          <a:off x="7195334" y="755423"/>
          <a:ext cx="158873" cy="42082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08298"/>
              </a:lnTo>
              <a:lnTo>
                <a:pt x="158873" y="4208298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871421-70EC-4E35-ACE6-5F0BE47759C5}">
      <dsp:nvSpPr>
        <dsp:cNvPr id="0" name=""/>
        <dsp:cNvSpPr/>
      </dsp:nvSpPr>
      <dsp:spPr>
        <a:xfrm>
          <a:off x="7354208" y="4398862"/>
          <a:ext cx="1599126" cy="1129719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 smtClean="0">
              <a:solidFill>
                <a:srgbClr val="1B1B1B"/>
              </a:solidFill>
            </a:rPr>
            <a:t>Zoonosis: </a:t>
          </a:r>
          <a:r>
            <a:rPr lang="es-CL" sz="1100" b="0" kern="1200" dirty="0" smtClean="0">
              <a:solidFill>
                <a:srgbClr val="1B1B1B"/>
              </a:solidFill>
            </a:rPr>
            <a:t>Control de foco/registro de enfermedades </a:t>
          </a:r>
          <a:r>
            <a:rPr lang="es-CL" sz="1100" b="0" kern="1200" dirty="0" err="1" smtClean="0">
              <a:solidFill>
                <a:srgbClr val="1B1B1B"/>
              </a:solidFill>
            </a:rPr>
            <a:t>zoonóticas</a:t>
          </a:r>
          <a:r>
            <a:rPr lang="es-CL" sz="1100" b="0" kern="1200" dirty="0" smtClean="0">
              <a:solidFill>
                <a:srgbClr val="1B1B1B"/>
              </a:solidFill>
            </a:rPr>
            <a:t>/control sanitario de vacunas/ interoperabilidad </a:t>
          </a:r>
          <a:r>
            <a:rPr lang="es-CL" sz="1100" b="0" kern="1200" dirty="0" err="1" smtClean="0">
              <a:solidFill>
                <a:srgbClr val="1B1B1B"/>
              </a:solidFill>
            </a:rPr>
            <a:t>segpre</a:t>
          </a:r>
          <a:endParaRPr lang="es-CL" sz="1100" b="0" kern="1200" dirty="0">
            <a:solidFill>
              <a:srgbClr val="1B1B1B"/>
            </a:solidFill>
          </a:endParaRPr>
        </a:p>
      </dsp:txBody>
      <dsp:txXfrm>
        <a:off x="7387296" y="4431950"/>
        <a:ext cx="1532950" cy="106354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36CD1C-4CDD-455D-9997-CCE8CF7F334A}">
      <dsp:nvSpPr>
        <dsp:cNvPr id="0" name=""/>
        <dsp:cNvSpPr/>
      </dsp:nvSpPr>
      <dsp:spPr>
        <a:xfrm>
          <a:off x="135077" y="163888"/>
          <a:ext cx="2053850" cy="871760"/>
        </a:xfrm>
        <a:prstGeom prst="roundRect">
          <a:avLst>
            <a:gd name="adj" fmla="val 10000"/>
          </a:avLst>
        </a:prstGeom>
        <a:solidFill>
          <a:srgbClr val="00999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/>
            <a:t>SALUD OCUPACIONAL</a:t>
          </a:r>
        </a:p>
      </dsp:txBody>
      <dsp:txXfrm>
        <a:off x="160610" y="189421"/>
        <a:ext cx="2002784" cy="820694"/>
      </dsp:txXfrm>
    </dsp:sp>
    <dsp:sp modelId="{E0CA4CE8-DF13-4590-987B-E1F14878D0D0}">
      <dsp:nvSpPr>
        <dsp:cNvPr id="0" name=""/>
        <dsp:cNvSpPr/>
      </dsp:nvSpPr>
      <dsp:spPr>
        <a:xfrm>
          <a:off x="340462" y="1035649"/>
          <a:ext cx="189501" cy="6141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14155"/>
              </a:lnTo>
              <a:lnTo>
                <a:pt x="189501" y="614155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5CC0D6-A987-4F3E-A514-4EB36E1C05A6}">
      <dsp:nvSpPr>
        <dsp:cNvPr id="0" name=""/>
        <dsp:cNvSpPr/>
      </dsp:nvSpPr>
      <dsp:spPr>
        <a:xfrm>
          <a:off x="529964" y="1213924"/>
          <a:ext cx="1678355" cy="871760"/>
        </a:xfrm>
        <a:prstGeom prst="roundRect">
          <a:avLst>
            <a:gd name="adj" fmla="val 10000"/>
          </a:avLst>
        </a:prstGeom>
        <a:solidFill>
          <a:srgbClr val="D1F7EA">
            <a:alpha val="89804"/>
          </a:srgbClr>
        </a:solidFill>
        <a:ln w="9525" cap="flat" cmpd="sng" algn="ctr">
          <a:solidFill>
            <a:srgbClr val="00808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Objetivo</a:t>
          </a:r>
          <a:r>
            <a:rPr lang="es-CL" sz="1100" b="0" kern="1200" dirty="0">
              <a:solidFill>
                <a:srgbClr val="1B1B1B"/>
              </a:solidFill>
            </a:rPr>
            <a:t>: Proteger la salud de los trabajadores.</a:t>
          </a:r>
        </a:p>
      </dsp:txBody>
      <dsp:txXfrm>
        <a:off x="555497" y="1239457"/>
        <a:ext cx="1627289" cy="820694"/>
      </dsp:txXfrm>
    </dsp:sp>
    <dsp:sp modelId="{7EDB7E69-381A-499F-BF32-533698ED6D9E}">
      <dsp:nvSpPr>
        <dsp:cNvPr id="0" name=""/>
        <dsp:cNvSpPr/>
      </dsp:nvSpPr>
      <dsp:spPr>
        <a:xfrm>
          <a:off x="340462" y="1035649"/>
          <a:ext cx="189501" cy="17170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17080"/>
              </a:lnTo>
              <a:lnTo>
                <a:pt x="189501" y="1717080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98833A-40BB-462F-8173-10509195D56C}">
      <dsp:nvSpPr>
        <dsp:cNvPr id="0" name=""/>
        <dsp:cNvSpPr/>
      </dsp:nvSpPr>
      <dsp:spPr>
        <a:xfrm>
          <a:off x="529964" y="2316849"/>
          <a:ext cx="1561065" cy="871760"/>
        </a:xfrm>
        <a:prstGeom prst="roundRect">
          <a:avLst>
            <a:gd name="adj" fmla="val 10000"/>
          </a:avLst>
        </a:prstGeom>
        <a:solidFill>
          <a:srgbClr val="D1F7EA">
            <a:alpha val="90000"/>
          </a:srgbClr>
        </a:solidFill>
        <a:ln w="9525" cap="flat" cmpd="sng" algn="ctr">
          <a:solidFill>
            <a:srgbClr val="00808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  <a:latin typeface="+mn-lt"/>
            </a:rPr>
            <a:t>Clientes: 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  <a:latin typeface="+mn-lt"/>
            </a:rPr>
            <a:t>- </a:t>
          </a:r>
          <a:r>
            <a:rPr lang="es-CL" sz="1100" kern="1200" dirty="0">
              <a:solidFill>
                <a:srgbClr val="1B1B1B"/>
              </a:solidFill>
              <a:latin typeface="+mn-lt"/>
            </a:rPr>
            <a:t>Encargados de programa MINSAL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 dirty="0">
              <a:solidFill>
                <a:srgbClr val="1B1B1B"/>
              </a:solidFill>
              <a:latin typeface="+mn-lt"/>
            </a:rPr>
            <a:t>- Fiscalizadores</a:t>
          </a:r>
        </a:p>
      </dsp:txBody>
      <dsp:txXfrm>
        <a:off x="555497" y="2342382"/>
        <a:ext cx="1509999" cy="820694"/>
      </dsp:txXfrm>
    </dsp:sp>
    <dsp:sp modelId="{2090B7D8-B3E0-4B2F-AFC1-6E82D4E32AFB}">
      <dsp:nvSpPr>
        <dsp:cNvPr id="0" name=""/>
        <dsp:cNvSpPr/>
      </dsp:nvSpPr>
      <dsp:spPr>
        <a:xfrm>
          <a:off x="340462" y="1035649"/>
          <a:ext cx="189501" cy="280678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06781"/>
              </a:lnTo>
              <a:lnTo>
                <a:pt x="189501" y="2806781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FB85B1-0560-4612-929C-E666117661C5}">
      <dsp:nvSpPr>
        <dsp:cNvPr id="0" name=""/>
        <dsp:cNvSpPr/>
      </dsp:nvSpPr>
      <dsp:spPr>
        <a:xfrm>
          <a:off x="529964" y="3406550"/>
          <a:ext cx="1535358" cy="871760"/>
        </a:xfrm>
        <a:prstGeom prst="roundRect">
          <a:avLst>
            <a:gd name="adj" fmla="val 10000"/>
          </a:avLst>
        </a:prstGeom>
        <a:solidFill>
          <a:srgbClr val="D1F7EA">
            <a:alpha val="90000"/>
          </a:srgbClr>
        </a:solidFill>
        <a:ln w="9525" cap="flat" cmpd="sng" algn="ctr">
          <a:solidFill>
            <a:srgbClr val="00808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Referente: 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 dirty="0">
              <a:solidFill>
                <a:srgbClr val="1B1B1B"/>
              </a:solidFill>
            </a:rPr>
            <a:t>Cristian Villarroel</a:t>
          </a:r>
        </a:p>
      </dsp:txBody>
      <dsp:txXfrm>
        <a:off x="555497" y="3432083"/>
        <a:ext cx="1484292" cy="820694"/>
      </dsp:txXfrm>
    </dsp:sp>
    <dsp:sp modelId="{7B33427B-A5D7-45FA-9C9F-3604B9916F97}">
      <dsp:nvSpPr>
        <dsp:cNvPr id="0" name=""/>
        <dsp:cNvSpPr/>
      </dsp:nvSpPr>
      <dsp:spPr>
        <a:xfrm>
          <a:off x="2555783" y="176816"/>
          <a:ext cx="1743521" cy="871760"/>
        </a:xfrm>
        <a:prstGeom prst="roundRect">
          <a:avLst>
            <a:gd name="adj" fmla="val 10000"/>
          </a:avLst>
        </a:prstGeom>
        <a:solidFill>
          <a:srgbClr val="B233D5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/>
            <a:t>ALIMENTOS</a:t>
          </a:r>
        </a:p>
      </dsp:txBody>
      <dsp:txXfrm>
        <a:off x="2581316" y="202349"/>
        <a:ext cx="1692455" cy="820694"/>
      </dsp:txXfrm>
    </dsp:sp>
    <dsp:sp modelId="{84099D88-DA45-493B-BC00-2EF75A9E221B}">
      <dsp:nvSpPr>
        <dsp:cNvPr id="0" name=""/>
        <dsp:cNvSpPr/>
      </dsp:nvSpPr>
      <dsp:spPr>
        <a:xfrm>
          <a:off x="2730135" y="1048577"/>
          <a:ext cx="308505" cy="6012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01227"/>
              </a:lnTo>
              <a:lnTo>
                <a:pt x="308505" y="601227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40BAC0-730F-468C-A268-4CE337B40F55}">
      <dsp:nvSpPr>
        <dsp:cNvPr id="0" name=""/>
        <dsp:cNvSpPr/>
      </dsp:nvSpPr>
      <dsp:spPr>
        <a:xfrm>
          <a:off x="3038640" y="1213924"/>
          <a:ext cx="1543560" cy="871760"/>
        </a:xfrm>
        <a:prstGeom prst="roundRect">
          <a:avLst>
            <a:gd name="adj" fmla="val 10000"/>
          </a:avLst>
        </a:prstGeom>
        <a:solidFill>
          <a:srgbClr val="E7E7FF">
            <a:alpha val="89804"/>
          </a:srgbClr>
        </a:solidFill>
        <a:ln w="9525" cap="flat" cmpd="sng" algn="ctr">
          <a:solidFill>
            <a:srgbClr val="770EB2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Objetivo: </a:t>
          </a:r>
          <a:r>
            <a:rPr lang="es-CL" sz="1100" b="0" kern="1200" dirty="0">
              <a:solidFill>
                <a:srgbClr val="1B1B1B"/>
              </a:solidFill>
            </a:rPr>
            <a:t>Garantizar la seguridad alimentaria de los consumidores a través de la inocuidad de los alimentos.  </a:t>
          </a:r>
          <a:endParaRPr lang="es-CL" sz="2000" b="0" kern="1200" dirty="0">
            <a:solidFill>
              <a:srgbClr val="1B1B1B"/>
            </a:solidFill>
          </a:endParaRPr>
        </a:p>
      </dsp:txBody>
      <dsp:txXfrm>
        <a:off x="3064173" y="1239457"/>
        <a:ext cx="1492494" cy="820694"/>
      </dsp:txXfrm>
    </dsp:sp>
    <dsp:sp modelId="{34327BF4-1CE4-4EC1-B596-37CE9AA885DB}">
      <dsp:nvSpPr>
        <dsp:cNvPr id="0" name=""/>
        <dsp:cNvSpPr/>
      </dsp:nvSpPr>
      <dsp:spPr>
        <a:xfrm>
          <a:off x="2730135" y="1048577"/>
          <a:ext cx="269213" cy="16853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85344"/>
              </a:lnTo>
              <a:lnTo>
                <a:pt x="269213" y="1685344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3080A38-A292-49F0-8CAD-FD2C02E715E4}">
      <dsp:nvSpPr>
        <dsp:cNvPr id="0" name=""/>
        <dsp:cNvSpPr/>
      </dsp:nvSpPr>
      <dsp:spPr>
        <a:xfrm>
          <a:off x="2999348" y="2303625"/>
          <a:ext cx="1517031" cy="860593"/>
        </a:xfrm>
        <a:prstGeom prst="roundRect">
          <a:avLst>
            <a:gd name="adj" fmla="val 10000"/>
          </a:avLst>
        </a:prstGeom>
        <a:solidFill>
          <a:srgbClr val="E7E7FF">
            <a:alpha val="90000"/>
          </a:srgbClr>
        </a:solidFill>
        <a:ln w="9525" cap="flat" cmpd="sng" algn="ctr">
          <a:solidFill>
            <a:srgbClr val="770EB2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  <a:latin typeface="+mn-lt"/>
            </a:rPr>
            <a:t>Clientes: 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  <a:latin typeface="+mn-lt"/>
            </a:rPr>
            <a:t>- </a:t>
          </a:r>
          <a:r>
            <a:rPr lang="es-CL" sz="1100" kern="1200" dirty="0">
              <a:solidFill>
                <a:srgbClr val="1B1B1B"/>
              </a:solidFill>
              <a:latin typeface="+mn-lt"/>
            </a:rPr>
            <a:t>Encargados de programa MINSAL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 dirty="0">
              <a:solidFill>
                <a:srgbClr val="1B1B1B"/>
              </a:solidFill>
              <a:latin typeface="+mn-lt"/>
            </a:rPr>
            <a:t>- Fiscalizadores</a:t>
          </a:r>
        </a:p>
      </dsp:txBody>
      <dsp:txXfrm>
        <a:off x="3024554" y="2328831"/>
        <a:ext cx="1466619" cy="810181"/>
      </dsp:txXfrm>
    </dsp:sp>
    <dsp:sp modelId="{ED8356AA-4FF3-4C94-86D4-33D7492D9366}">
      <dsp:nvSpPr>
        <dsp:cNvPr id="0" name=""/>
        <dsp:cNvSpPr/>
      </dsp:nvSpPr>
      <dsp:spPr>
        <a:xfrm>
          <a:off x="2730135" y="1048577"/>
          <a:ext cx="269213" cy="27841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84168"/>
              </a:lnTo>
              <a:lnTo>
                <a:pt x="269213" y="2784168"/>
              </a:lnTo>
            </a:path>
          </a:pathLst>
        </a:custGeom>
        <a:noFill/>
        <a:ln w="25400" cap="flat" cmpd="sng" algn="ctr">
          <a:solidFill>
            <a:schemeClr val="accent6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9500BED-E339-42BC-86E0-49507C8F2259}">
      <dsp:nvSpPr>
        <dsp:cNvPr id="0" name=""/>
        <dsp:cNvSpPr/>
      </dsp:nvSpPr>
      <dsp:spPr>
        <a:xfrm>
          <a:off x="2999348" y="3382159"/>
          <a:ext cx="1539013" cy="901173"/>
        </a:xfrm>
        <a:prstGeom prst="roundRect">
          <a:avLst>
            <a:gd name="adj" fmla="val 10000"/>
          </a:avLst>
        </a:prstGeom>
        <a:solidFill>
          <a:srgbClr val="E7E7FF">
            <a:alpha val="90000"/>
          </a:srgbClr>
        </a:solidFill>
        <a:ln w="9525" cap="flat" cmpd="sng" algn="ctr">
          <a:solidFill>
            <a:srgbClr val="770EB2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Referente: 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 dirty="0">
              <a:solidFill>
                <a:srgbClr val="1B1B1B"/>
              </a:solidFill>
            </a:rPr>
            <a:t>Marcelo Ulloa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 dirty="0">
              <a:solidFill>
                <a:srgbClr val="1B1B1B"/>
              </a:solidFill>
            </a:rPr>
            <a:t>Silvia Baeza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 dirty="0">
              <a:solidFill>
                <a:srgbClr val="1B1B1B"/>
              </a:solidFill>
            </a:rPr>
            <a:t>Cristian Cofré</a:t>
          </a:r>
        </a:p>
      </dsp:txBody>
      <dsp:txXfrm>
        <a:off x="3025742" y="3408553"/>
        <a:ext cx="1486225" cy="848385"/>
      </dsp:txXfrm>
    </dsp:sp>
    <dsp:sp modelId="{4A1F2038-FA57-4AC2-8252-3ACCDA100695}">
      <dsp:nvSpPr>
        <dsp:cNvPr id="0" name=""/>
        <dsp:cNvSpPr/>
      </dsp:nvSpPr>
      <dsp:spPr>
        <a:xfrm>
          <a:off x="4716023" y="190625"/>
          <a:ext cx="2106975" cy="800860"/>
        </a:xfrm>
        <a:prstGeom prst="roundRect">
          <a:avLst>
            <a:gd name="adj" fmla="val 10000"/>
          </a:avLst>
        </a:prstGeom>
        <a:solidFill>
          <a:srgbClr val="FF993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/>
            <a:t>  MONITOREO CONTINENTAL</a:t>
          </a:r>
        </a:p>
      </dsp:txBody>
      <dsp:txXfrm>
        <a:off x="4739479" y="214081"/>
        <a:ext cx="2060063" cy="753948"/>
      </dsp:txXfrm>
    </dsp:sp>
    <dsp:sp modelId="{80AEAD2E-F332-49ED-B347-BB757F2051EC}">
      <dsp:nvSpPr>
        <dsp:cNvPr id="0" name=""/>
        <dsp:cNvSpPr/>
      </dsp:nvSpPr>
      <dsp:spPr>
        <a:xfrm>
          <a:off x="4926721" y="991485"/>
          <a:ext cx="370512" cy="5741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74193"/>
              </a:lnTo>
              <a:lnTo>
                <a:pt x="370512" y="574193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4CCD24-1E2C-453D-BF22-88DF87AF73A9}">
      <dsp:nvSpPr>
        <dsp:cNvPr id="0" name=""/>
        <dsp:cNvSpPr/>
      </dsp:nvSpPr>
      <dsp:spPr>
        <a:xfrm>
          <a:off x="5297233" y="1129799"/>
          <a:ext cx="1394817" cy="871760"/>
        </a:xfrm>
        <a:prstGeom prst="roundRect">
          <a:avLst>
            <a:gd name="adj" fmla="val 10000"/>
          </a:avLst>
        </a:prstGeom>
        <a:solidFill>
          <a:srgbClr val="FFE2C5">
            <a:alpha val="89804"/>
          </a:srgb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Objetivo: </a:t>
          </a:r>
          <a:r>
            <a:rPr lang="es-CL" sz="1100" b="0" kern="1200" dirty="0">
              <a:solidFill>
                <a:srgbClr val="1B1B1B"/>
              </a:solidFill>
            </a:rPr>
            <a:t>Minimizar el riesgo de reintroducción y dispersión   </a:t>
          </a:r>
          <a:r>
            <a:rPr lang="es-CL" sz="1100" b="1" kern="1200" dirty="0">
              <a:solidFill>
                <a:srgbClr val="1B1B1B"/>
              </a:solidFill>
            </a:rPr>
            <a:t> </a:t>
          </a:r>
          <a:endParaRPr lang="es-CL" sz="1100" b="0" kern="1200" dirty="0">
            <a:solidFill>
              <a:srgbClr val="1B1B1B"/>
            </a:solidFill>
          </a:endParaRPr>
        </a:p>
      </dsp:txBody>
      <dsp:txXfrm>
        <a:off x="5322766" y="1155332"/>
        <a:ext cx="1343751" cy="820694"/>
      </dsp:txXfrm>
    </dsp:sp>
    <dsp:sp modelId="{AC4AE9B6-DFD3-48C1-9A53-5B6F93D311A8}">
      <dsp:nvSpPr>
        <dsp:cNvPr id="0" name=""/>
        <dsp:cNvSpPr/>
      </dsp:nvSpPr>
      <dsp:spPr>
        <a:xfrm>
          <a:off x="4926721" y="991485"/>
          <a:ext cx="383721" cy="16771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7119"/>
              </a:lnTo>
              <a:lnTo>
                <a:pt x="383721" y="1677119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A7663D-4801-4EEA-BC36-9D7BE3DC1324}">
      <dsp:nvSpPr>
        <dsp:cNvPr id="0" name=""/>
        <dsp:cNvSpPr/>
      </dsp:nvSpPr>
      <dsp:spPr>
        <a:xfrm>
          <a:off x="5310442" y="2232725"/>
          <a:ext cx="1433774" cy="871760"/>
        </a:xfrm>
        <a:prstGeom prst="roundRect">
          <a:avLst>
            <a:gd name="adj" fmla="val 10000"/>
          </a:avLst>
        </a:prstGeom>
        <a:solidFill>
          <a:srgbClr val="FFE2C5">
            <a:alpha val="90000"/>
          </a:srgb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  <a:latin typeface="+mn-lt"/>
            </a:rPr>
            <a:t>Clientes: 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  <a:latin typeface="+mn-lt"/>
            </a:rPr>
            <a:t>- </a:t>
          </a:r>
          <a:r>
            <a:rPr lang="es-CL" sz="1100" kern="1200" dirty="0">
              <a:solidFill>
                <a:srgbClr val="1B1B1B"/>
              </a:solidFill>
              <a:latin typeface="+mn-lt"/>
            </a:rPr>
            <a:t>Encargados de programa MINSAL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 dirty="0">
              <a:solidFill>
                <a:srgbClr val="1B1B1B"/>
              </a:solidFill>
              <a:latin typeface="+mn-lt"/>
            </a:rPr>
            <a:t>- Inspectores</a:t>
          </a:r>
        </a:p>
      </dsp:txBody>
      <dsp:txXfrm>
        <a:off x="5335975" y="2258258"/>
        <a:ext cx="1382708" cy="820694"/>
      </dsp:txXfrm>
    </dsp:sp>
    <dsp:sp modelId="{553F0568-A673-45CB-95BE-4F77D8A4A58F}">
      <dsp:nvSpPr>
        <dsp:cNvPr id="0" name=""/>
        <dsp:cNvSpPr/>
      </dsp:nvSpPr>
      <dsp:spPr>
        <a:xfrm>
          <a:off x="4926721" y="991485"/>
          <a:ext cx="410166" cy="27800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80036"/>
              </a:lnTo>
              <a:lnTo>
                <a:pt x="410166" y="2780036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BC3C2DE-9EAD-4869-A336-94FDD377E048}">
      <dsp:nvSpPr>
        <dsp:cNvPr id="0" name=""/>
        <dsp:cNvSpPr/>
      </dsp:nvSpPr>
      <dsp:spPr>
        <a:xfrm>
          <a:off x="5336888" y="3335641"/>
          <a:ext cx="1394817" cy="871760"/>
        </a:xfrm>
        <a:prstGeom prst="roundRect">
          <a:avLst>
            <a:gd name="adj" fmla="val 10000"/>
          </a:avLst>
        </a:prstGeom>
        <a:solidFill>
          <a:srgbClr val="FFE2C5">
            <a:alpha val="90000"/>
          </a:srgb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Referente:</a:t>
          </a:r>
          <a:endParaRPr lang="es-CL" sz="2000" b="1" kern="1200" dirty="0">
            <a:solidFill>
              <a:srgbClr val="1B1B1B"/>
            </a:solidFill>
          </a:endParaRP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 dirty="0">
              <a:solidFill>
                <a:srgbClr val="1B1B1B"/>
              </a:solidFill>
            </a:rPr>
            <a:t>Bárbara </a:t>
          </a:r>
          <a:r>
            <a:rPr lang="es-CL" sz="1100" kern="1200" dirty="0" err="1">
              <a:solidFill>
                <a:srgbClr val="1B1B1B"/>
              </a:solidFill>
            </a:rPr>
            <a:t>Hott</a:t>
          </a:r>
          <a:endParaRPr lang="es-CL" sz="1100" kern="1200" dirty="0">
            <a:solidFill>
              <a:srgbClr val="1B1B1B"/>
            </a:solidFill>
          </a:endParaRPr>
        </a:p>
      </dsp:txBody>
      <dsp:txXfrm>
        <a:off x="5362421" y="3361174"/>
        <a:ext cx="1343751" cy="820694"/>
      </dsp:txXfrm>
    </dsp:sp>
    <dsp:sp modelId="{EAAB32A4-E0E6-4BA2-921B-10C63878908B}">
      <dsp:nvSpPr>
        <dsp:cNvPr id="0" name=""/>
        <dsp:cNvSpPr/>
      </dsp:nvSpPr>
      <dsp:spPr>
        <a:xfrm>
          <a:off x="4926721" y="991485"/>
          <a:ext cx="423389" cy="38573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57305"/>
              </a:lnTo>
              <a:lnTo>
                <a:pt x="423389" y="3857305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1E3552-3CB3-4CD8-8A5E-E9128AFBAF32}">
      <dsp:nvSpPr>
        <dsp:cNvPr id="0" name=""/>
        <dsp:cNvSpPr/>
      </dsp:nvSpPr>
      <dsp:spPr>
        <a:xfrm>
          <a:off x="5350110" y="4412911"/>
          <a:ext cx="1394817" cy="871760"/>
        </a:xfrm>
        <a:prstGeom prst="roundRect">
          <a:avLst>
            <a:gd name="adj" fmla="val 10000"/>
          </a:avLst>
        </a:prstGeom>
        <a:solidFill>
          <a:srgbClr val="FFE2C5">
            <a:alpha val="90000"/>
          </a:srgb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Impacto (+):</a:t>
          </a:r>
          <a:r>
            <a:rPr lang="es-CL" sz="1100" b="0" kern="1200" dirty="0">
              <a:solidFill>
                <a:srgbClr val="1B1B1B"/>
              </a:solidFill>
            </a:rPr>
            <a:t>Reducir el impacto social y económico</a:t>
          </a:r>
          <a:endParaRPr lang="es-CL" sz="2400" b="0" kern="1200" dirty="0">
            <a:solidFill>
              <a:srgbClr val="1B1B1B"/>
            </a:solidFill>
          </a:endParaRPr>
        </a:p>
      </dsp:txBody>
      <dsp:txXfrm>
        <a:off x="5375643" y="4438444"/>
        <a:ext cx="1343751" cy="820694"/>
      </dsp:txXfrm>
    </dsp:sp>
    <dsp:sp modelId="{1E16444F-7FBB-4384-AD05-F603ADBD0287}">
      <dsp:nvSpPr>
        <dsp:cNvPr id="0" name=""/>
        <dsp:cNvSpPr/>
      </dsp:nvSpPr>
      <dsp:spPr>
        <a:xfrm>
          <a:off x="7106182" y="220579"/>
          <a:ext cx="1930322" cy="768195"/>
        </a:xfrm>
        <a:prstGeom prst="roundRect">
          <a:avLst>
            <a:gd name="adj" fmla="val 10000"/>
          </a:avLst>
        </a:prstGeom>
        <a:solidFill>
          <a:srgbClr val="FF993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26670" rIns="40005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100" kern="1200" dirty="0"/>
            <a:t>  MONITOREO INSULAR</a:t>
          </a:r>
        </a:p>
      </dsp:txBody>
      <dsp:txXfrm>
        <a:off x="7128682" y="243079"/>
        <a:ext cx="1885322" cy="723195"/>
      </dsp:txXfrm>
    </dsp:sp>
    <dsp:sp modelId="{3468509C-395C-4CAA-8031-56300B0F5235}">
      <dsp:nvSpPr>
        <dsp:cNvPr id="0" name=""/>
        <dsp:cNvSpPr/>
      </dsp:nvSpPr>
      <dsp:spPr>
        <a:xfrm>
          <a:off x="7299214" y="988774"/>
          <a:ext cx="342462" cy="54424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44240"/>
              </a:lnTo>
              <a:lnTo>
                <a:pt x="342462" y="54424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CF6715-6666-40F0-95F7-7B160E03C7CC}">
      <dsp:nvSpPr>
        <dsp:cNvPr id="0" name=""/>
        <dsp:cNvSpPr/>
      </dsp:nvSpPr>
      <dsp:spPr>
        <a:xfrm>
          <a:off x="7641677" y="1097134"/>
          <a:ext cx="1394817" cy="871760"/>
        </a:xfrm>
        <a:prstGeom prst="roundRect">
          <a:avLst>
            <a:gd name="adj" fmla="val 10000"/>
          </a:avLst>
        </a:prstGeom>
        <a:solidFill>
          <a:srgbClr val="FFE2C5">
            <a:alpha val="89804"/>
          </a:srgb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Objetivo: </a:t>
          </a:r>
          <a:r>
            <a:rPr lang="es-CL" sz="1100" b="0" kern="1200" dirty="0">
              <a:solidFill>
                <a:srgbClr val="1B1B1B"/>
              </a:solidFill>
            </a:rPr>
            <a:t>Controlar infestación de </a:t>
          </a:r>
          <a:r>
            <a:rPr lang="es-CL" sz="1100" b="0" i="1" kern="1200" dirty="0">
              <a:solidFill>
                <a:srgbClr val="1B1B1B"/>
              </a:solidFill>
            </a:rPr>
            <a:t>Aedes </a:t>
          </a:r>
          <a:r>
            <a:rPr lang="es-CL" sz="1100" b="0" i="1" kern="1200" dirty="0" err="1">
              <a:solidFill>
                <a:srgbClr val="1B1B1B"/>
              </a:solidFill>
            </a:rPr>
            <a:t>Aegypti</a:t>
          </a:r>
          <a:endParaRPr lang="es-CL" sz="1100" b="0" i="1" kern="1200" dirty="0">
            <a:solidFill>
              <a:srgbClr val="1B1B1B"/>
            </a:solidFill>
          </a:endParaRPr>
        </a:p>
      </dsp:txBody>
      <dsp:txXfrm>
        <a:off x="7667210" y="1122667"/>
        <a:ext cx="1343751" cy="820694"/>
      </dsp:txXfrm>
    </dsp:sp>
    <dsp:sp modelId="{46304A66-8EF0-46E0-A0F4-2DF3234AD846}">
      <dsp:nvSpPr>
        <dsp:cNvPr id="0" name=""/>
        <dsp:cNvSpPr/>
      </dsp:nvSpPr>
      <dsp:spPr>
        <a:xfrm>
          <a:off x="7299214" y="988774"/>
          <a:ext cx="341583" cy="17630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63075"/>
              </a:lnTo>
              <a:lnTo>
                <a:pt x="341583" y="176307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EB9B09-F3A1-4BBA-BC84-08C74AB13F65}">
      <dsp:nvSpPr>
        <dsp:cNvPr id="0" name=""/>
        <dsp:cNvSpPr/>
      </dsp:nvSpPr>
      <dsp:spPr>
        <a:xfrm>
          <a:off x="7640798" y="2207670"/>
          <a:ext cx="1395695" cy="1088358"/>
        </a:xfrm>
        <a:prstGeom prst="roundRect">
          <a:avLst>
            <a:gd name="adj" fmla="val 10000"/>
          </a:avLst>
        </a:prstGeom>
        <a:solidFill>
          <a:srgbClr val="FFE2C5">
            <a:alpha val="90000"/>
          </a:srgb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000" b="1" kern="1200" dirty="0">
              <a:solidFill>
                <a:srgbClr val="1B1B1B"/>
              </a:solidFill>
              <a:latin typeface="+mn-lt"/>
            </a:rPr>
            <a:t>Cliente Interno: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000" b="1" kern="1200" dirty="0">
              <a:solidFill>
                <a:srgbClr val="1B1B1B"/>
              </a:solidFill>
              <a:latin typeface="+mn-lt"/>
            </a:rPr>
            <a:t>- </a:t>
          </a:r>
          <a:r>
            <a:rPr lang="es-CL" sz="1000" kern="1200" dirty="0">
              <a:solidFill>
                <a:srgbClr val="1B1B1B"/>
              </a:solidFill>
              <a:latin typeface="+mn-lt"/>
            </a:rPr>
            <a:t>Encargados de programa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000" kern="1200" dirty="0">
              <a:solidFill>
                <a:srgbClr val="1B1B1B"/>
              </a:solidFill>
              <a:latin typeface="+mn-lt"/>
            </a:rPr>
            <a:t>- Inspectores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000" b="1" kern="1200" dirty="0">
              <a:solidFill>
                <a:srgbClr val="1B1B1B"/>
              </a:solidFill>
              <a:latin typeface="+mn-lt"/>
            </a:rPr>
            <a:t>Cliente Externo</a:t>
          </a:r>
          <a:r>
            <a:rPr lang="es-ES" sz="1000" b="1" kern="1200" dirty="0">
              <a:solidFill>
                <a:srgbClr val="1B1B1B"/>
              </a:solidFill>
              <a:latin typeface="+mn-lt"/>
            </a:rPr>
            <a:t>:</a:t>
          </a:r>
          <a:r>
            <a:rPr lang="es-CL" sz="1000" b="1" kern="1200" dirty="0">
              <a:solidFill>
                <a:srgbClr val="1B1B1B"/>
              </a:solidFill>
              <a:latin typeface="+mn-lt"/>
            </a:rPr>
            <a:t> </a:t>
          </a:r>
          <a:r>
            <a:rPr lang="es-CL" sz="1000" kern="1200" dirty="0">
              <a:solidFill>
                <a:srgbClr val="1B1B1B"/>
              </a:solidFill>
              <a:latin typeface="+mn-lt"/>
            </a:rPr>
            <a:t>Comunidad</a:t>
          </a:r>
        </a:p>
      </dsp:txBody>
      <dsp:txXfrm>
        <a:off x="7672675" y="2239547"/>
        <a:ext cx="1331941" cy="1024604"/>
      </dsp:txXfrm>
    </dsp:sp>
    <dsp:sp modelId="{21A0268F-B372-4F1C-BDD7-D8778538F1BD}">
      <dsp:nvSpPr>
        <dsp:cNvPr id="0" name=""/>
        <dsp:cNvSpPr/>
      </dsp:nvSpPr>
      <dsp:spPr>
        <a:xfrm>
          <a:off x="7299214" y="988774"/>
          <a:ext cx="342462" cy="29666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66680"/>
              </a:lnTo>
              <a:lnTo>
                <a:pt x="342462" y="296668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BB35D1-D584-4E83-ACBD-497A735838F3}">
      <dsp:nvSpPr>
        <dsp:cNvPr id="0" name=""/>
        <dsp:cNvSpPr/>
      </dsp:nvSpPr>
      <dsp:spPr>
        <a:xfrm>
          <a:off x="7641677" y="3519574"/>
          <a:ext cx="1394817" cy="871760"/>
        </a:xfrm>
        <a:prstGeom prst="roundRect">
          <a:avLst>
            <a:gd name="adj" fmla="val 10000"/>
          </a:avLst>
        </a:prstGeom>
        <a:solidFill>
          <a:srgbClr val="FFE2C5">
            <a:alpha val="90000"/>
          </a:srgb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Referente: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 dirty="0">
              <a:solidFill>
                <a:srgbClr val="1B1B1B"/>
              </a:solidFill>
            </a:rPr>
            <a:t>Bárbara </a:t>
          </a:r>
          <a:r>
            <a:rPr lang="es-CL" sz="1100" kern="1200" dirty="0" err="1">
              <a:solidFill>
                <a:srgbClr val="1B1B1B"/>
              </a:solidFill>
            </a:rPr>
            <a:t>Hott</a:t>
          </a:r>
          <a:endParaRPr lang="es-CL" sz="1100" kern="1200" dirty="0">
            <a:solidFill>
              <a:srgbClr val="1B1B1B"/>
            </a:solidFill>
          </a:endParaRPr>
        </a:p>
      </dsp:txBody>
      <dsp:txXfrm>
        <a:off x="7667210" y="3545107"/>
        <a:ext cx="1343751" cy="820694"/>
      </dsp:txXfrm>
    </dsp:sp>
    <dsp:sp modelId="{9905323C-1E59-4D05-AA1E-B7EE7C23098B}">
      <dsp:nvSpPr>
        <dsp:cNvPr id="0" name=""/>
        <dsp:cNvSpPr/>
      </dsp:nvSpPr>
      <dsp:spPr>
        <a:xfrm>
          <a:off x="7299214" y="988774"/>
          <a:ext cx="342462" cy="40439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043949"/>
              </a:lnTo>
              <a:lnTo>
                <a:pt x="342462" y="4043949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871421-70EC-4E35-ACE6-5F0BE47759C5}">
      <dsp:nvSpPr>
        <dsp:cNvPr id="0" name=""/>
        <dsp:cNvSpPr/>
      </dsp:nvSpPr>
      <dsp:spPr>
        <a:xfrm>
          <a:off x="7641677" y="4596844"/>
          <a:ext cx="1394817" cy="871760"/>
        </a:xfrm>
        <a:prstGeom prst="roundRect">
          <a:avLst>
            <a:gd name="adj" fmla="val 10000"/>
          </a:avLst>
        </a:prstGeom>
        <a:solidFill>
          <a:srgbClr val="FFE2C5">
            <a:alpha val="90000"/>
          </a:srgb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1100" b="1" kern="1200" dirty="0">
            <a:solidFill>
              <a:srgbClr val="1B1B1B"/>
            </a:solidFill>
          </a:endParaRP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Impacto (+):</a:t>
          </a:r>
          <a:r>
            <a:rPr lang="es-CL" sz="1100" b="0" kern="1200" dirty="0">
              <a:solidFill>
                <a:srgbClr val="1B1B1B"/>
              </a:solidFill>
            </a:rPr>
            <a:t>Reducir el impacto social y económico.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0" kern="1200" dirty="0">
              <a:solidFill>
                <a:srgbClr val="1B1B1B"/>
              </a:solidFill>
            </a:rPr>
            <a:t>Disminuir la </a:t>
          </a:r>
          <a:r>
            <a:rPr lang="es-CL" sz="1100" b="0" kern="1200" dirty="0" err="1">
              <a:solidFill>
                <a:srgbClr val="1B1B1B"/>
              </a:solidFill>
            </a:rPr>
            <a:t>morbi</a:t>
          </a:r>
          <a:r>
            <a:rPr lang="es-CL" sz="1100" b="0" kern="1200" dirty="0">
              <a:solidFill>
                <a:srgbClr val="1B1B1B"/>
              </a:solidFill>
            </a:rPr>
            <a:t> -mortalidad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1100" b="0" kern="1200" dirty="0">
            <a:solidFill>
              <a:srgbClr val="1B1B1B"/>
            </a:solidFill>
          </a:endParaRPr>
        </a:p>
      </dsp:txBody>
      <dsp:txXfrm>
        <a:off x="7667210" y="4622377"/>
        <a:ext cx="1343751" cy="82069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36CD1C-4CDD-455D-9997-CCE8CF7F334A}">
      <dsp:nvSpPr>
        <dsp:cNvPr id="0" name=""/>
        <dsp:cNvSpPr/>
      </dsp:nvSpPr>
      <dsp:spPr>
        <a:xfrm>
          <a:off x="271713" y="43573"/>
          <a:ext cx="1860972" cy="930486"/>
        </a:xfrm>
        <a:prstGeom prst="roundRect">
          <a:avLst>
            <a:gd name="adj" fmla="val 10000"/>
          </a:avLst>
        </a:prstGeom>
        <a:solidFill>
          <a:srgbClr val="00999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/>
            <a:t>SUMARIO SANITARIO</a:t>
          </a:r>
        </a:p>
      </dsp:txBody>
      <dsp:txXfrm>
        <a:off x="298966" y="70826"/>
        <a:ext cx="1806466" cy="875980"/>
      </dsp:txXfrm>
    </dsp:sp>
    <dsp:sp modelId="{E0CA4CE8-DF13-4590-987B-E1F14878D0D0}">
      <dsp:nvSpPr>
        <dsp:cNvPr id="0" name=""/>
        <dsp:cNvSpPr/>
      </dsp:nvSpPr>
      <dsp:spPr>
        <a:xfrm>
          <a:off x="457811" y="974059"/>
          <a:ext cx="482449" cy="6555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55527"/>
              </a:lnTo>
              <a:lnTo>
                <a:pt x="482449" y="655527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5CC0D6-A987-4F3E-A514-4EB36E1C05A6}">
      <dsp:nvSpPr>
        <dsp:cNvPr id="0" name=""/>
        <dsp:cNvSpPr/>
      </dsp:nvSpPr>
      <dsp:spPr>
        <a:xfrm>
          <a:off x="940261" y="1164344"/>
          <a:ext cx="1488778" cy="930486"/>
        </a:xfrm>
        <a:prstGeom prst="roundRect">
          <a:avLst>
            <a:gd name="adj" fmla="val 10000"/>
          </a:avLst>
        </a:prstGeom>
        <a:solidFill>
          <a:srgbClr val="D1F7EA">
            <a:alpha val="89804"/>
          </a:srgbClr>
        </a:solidFill>
        <a:ln w="9525" cap="flat" cmpd="sng" algn="ctr">
          <a:solidFill>
            <a:srgbClr val="00808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Objetivo: </a:t>
          </a:r>
          <a:r>
            <a:rPr lang="es-CL" sz="1100" b="0" kern="1200" dirty="0">
              <a:solidFill>
                <a:srgbClr val="1B1B1B"/>
              </a:solidFill>
            </a:rPr>
            <a:t>Realizar una investigación sanitaria, mejorando la  trazabilidad del expediente</a:t>
          </a:r>
        </a:p>
      </dsp:txBody>
      <dsp:txXfrm>
        <a:off x="967514" y="1191597"/>
        <a:ext cx="1434272" cy="875980"/>
      </dsp:txXfrm>
    </dsp:sp>
    <dsp:sp modelId="{7EDB7E69-381A-499F-BF32-533698ED6D9E}">
      <dsp:nvSpPr>
        <dsp:cNvPr id="0" name=""/>
        <dsp:cNvSpPr/>
      </dsp:nvSpPr>
      <dsp:spPr>
        <a:xfrm>
          <a:off x="457811" y="974059"/>
          <a:ext cx="468321" cy="18327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32751"/>
              </a:lnTo>
              <a:lnTo>
                <a:pt x="468321" y="1832751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98833A-40BB-462F-8173-10509195D56C}">
      <dsp:nvSpPr>
        <dsp:cNvPr id="0" name=""/>
        <dsp:cNvSpPr/>
      </dsp:nvSpPr>
      <dsp:spPr>
        <a:xfrm>
          <a:off x="926132" y="2341567"/>
          <a:ext cx="1488778" cy="930486"/>
        </a:xfrm>
        <a:prstGeom prst="roundRect">
          <a:avLst>
            <a:gd name="adj" fmla="val 10000"/>
          </a:avLst>
        </a:prstGeom>
        <a:solidFill>
          <a:srgbClr val="D1F7EA">
            <a:alpha val="90000"/>
          </a:srgbClr>
        </a:solidFill>
        <a:ln w="9525" cap="flat" cmpd="sng" algn="ctr">
          <a:solidFill>
            <a:srgbClr val="00808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  <a:latin typeface="+mn-lt"/>
            </a:rPr>
            <a:t>Cliente Interno: </a:t>
          </a:r>
          <a:r>
            <a:rPr lang="es-CL" sz="1100" kern="1200" dirty="0">
              <a:solidFill>
                <a:srgbClr val="1B1B1B"/>
              </a:solidFill>
              <a:latin typeface="+mn-lt"/>
            </a:rPr>
            <a:t>Funcionarios </a:t>
          </a:r>
          <a:r>
            <a:rPr lang="es-CL" sz="1100" kern="1200" dirty="0" err="1" smtClean="0">
              <a:solidFill>
                <a:srgbClr val="1B1B1B"/>
              </a:solidFill>
              <a:latin typeface="+mn-lt"/>
            </a:rPr>
            <a:t>SEREMIs</a:t>
          </a:r>
          <a:endParaRPr lang="es-CL" sz="1100" kern="1200" dirty="0">
            <a:solidFill>
              <a:srgbClr val="1B1B1B"/>
            </a:solidFill>
            <a:latin typeface="+mn-lt"/>
          </a:endParaRP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  <a:latin typeface="+mn-lt"/>
            </a:rPr>
            <a:t>Cliente Externo</a:t>
          </a:r>
          <a:r>
            <a:rPr lang="es-CL" sz="1100" kern="1200" dirty="0">
              <a:solidFill>
                <a:srgbClr val="1B1B1B"/>
              </a:solidFill>
              <a:latin typeface="+mn-lt"/>
            </a:rPr>
            <a:t>: Fiscalizados</a:t>
          </a:r>
          <a:endParaRPr lang="es-CL" sz="1100" b="1" kern="1200" dirty="0">
            <a:solidFill>
              <a:srgbClr val="1B1B1B"/>
            </a:solidFill>
          </a:endParaRPr>
        </a:p>
      </dsp:txBody>
      <dsp:txXfrm>
        <a:off x="953385" y="2368820"/>
        <a:ext cx="1434272" cy="875980"/>
      </dsp:txXfrm>
    </dsp:sp>
    <dsp:sp modelId="{2090B7D8-B3E0-4B2F-AFC1-6E82D4E32AFB}">
      <dsp:nvSpPr>
        <dsp:cNvPr id="0" name=""/>
        <dsp:cNvSpPr/>
      </dsp:nvSpPr>
      <dsp:spPr>
        <a:xfrm>
          <a:off x="457811" y="974059"/>
          <a:ext cx="482449" cy="29958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95859"/>
              </a:lnTo>
              <a:lnTo>
                <a:pt x="482449" y="2995859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FB85B1-0560-4612-929C-E666117661C5}">
      <dsp:nvSpPr>
        <dsp:cNvPr id="0" name=""/>
        <dsp:cNvSpPr/>
      </dsp:nvSpPr>
      <dsp:spPr>
        <a:xfrm>
          <a:off x="940261" y="3504675"/>
          <a:ext cx="1488778" cy="930486"/>
        </a:xfrm>
        <a:prstGeom prst="roundRect">
          <a:avLst>
            <a:gd name="adj" fmla="val 10000"/>
          </a:avLst>
        </a:prstGeom>
        <a:solidFill>
          <a:srgbClr val="D1F7EA">
            <a:alpha val="90000"/>
          </a:srgbClr>
        </a:solidFill>
        <a:ln w="9525" cap="flat" cmpd="sng" algn="ctr">
          <a:solidFill>
            <a:srgbClr val="00808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Referente: 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>
              <a:solidFill>
                <a:srgbClr val="1B1B1B"/>
              </a:solidFill>
            </a:rPr>
            <a:t>Josselyn </a:t>
          </a:r>
          <a:r>
            <a:rPr lang="es-CL" sz="1100" kern="1200" dirty="0">
              <a:solidFill>
                <a:srgbClr val="1B1B1B"/>
              </a:solidFill>
            </a:rPr>
            <a:t>Novoa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 dirty="0">
              <a:solidFill>
                <a:srgbClr val="1B1B1B"/>
              </a:solidFill>
            </a:rPr>
            <a:t>Marcelo Olivares</a:t>
          </a:r>
        </a:p>
      </dsp:txBody>
      <dsp:txXfrm>
        <a:off x="967514" y="3531928"/>
        <a:ext cx="1434272" cy="875980"/>
      </dsp:txXfrm>
    </dsp:sp>
    <dsp:sp modelId="{231CFEE3-EF12-4482-A39F-04BAC3EAFDD4}">
      <dsp:nvSpPr>
        <dsp:cNvPr id="0" name=""/>
        <dsp:cNvSpPr/>
      </dsp:nvSpPr>
      <dsp:spPr>
        <a:xfrm>
          <a:off x="457811" y="974059"/>
          <a:ext cx="482449" cy="41448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144852"/>
              </a:lnTo>
              <a:lnTo>
                <a:pt x="482449" y="4144852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F2D5B3F-8873-4D01-A72A-E045084A3BEB}">
      <dsp:nvSpPr>
        <dsp:cNvPr id="0" name=""/>
        <dsp:cNvSpPr/>
      </dsp:nvSpPr>
      <dsp:spPr>
        <a:xfrm>
          <a:off x="940261" y="4653668"/>
          <a:ext cx="1488778" cy="930486"/>
        </a:xfrm>
        <a:prstGeom prst="roundRect">
          <a:avLst>
            <a:gd name="adj" fmla="val 10000"/>
          </a:avLst>
        </a:prstGeom>
        <a:solidFill>
          <a:srgbClr val="D1F7EA">
            <a:alpha val="90000"/>
          </a:srgbClr>
        </a:solidFill>
        <a:ln w="9525" cap="flat" cmpd="sng" algn="ctr">
          <a:solidFill>
            <a:srgbClr val="00808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Impacto (+) </a:t>
          </a:r>
          <a:r>
            <a:rPr lang="es-CL" sz="1100" b="0" kern="1200" dirty="0">
              <a:solidFill>
                <a:srgbClr val="1B1B1B"/>
              </a:solidFill>
            </a:rPr>
            <a:t>Cumplimiento del código sanitario</a:t>
          </a:r>
        </a:p>
      </dsp:txBody>
      <dsp:txXfrm>
        <a:off x="967514" y="4680921"/>
        <a:ext cx="1434272" cy="875980"/>
      </dsp:txXfrm>
    </dsp:sp>
    <dsp:sp modelId="{7B33427B-A5D7-45FA-9C9F-3604B9916F97}">
      <dsp:nvSpPr>
        <dsp:cNvPr id="0" name=""/>
        <dsp:cNvSpPr/>
      </dsp:nvSpPr>
      <dsp:spPr>
        <a:xfrm>
          <a:off x="3190631" y="57679"/>
          <a:ext cx="1860972" cy="930486"/>
        </a:xfrm>
        <a:prstGeom prst="roundRect">
          <a:avLst>
            <a:gd name="adj" fmla="val 10000"/>
          </a:avLst>
        </a:prstGeom>
        <a:solidFill>
          <a:srgbClr val="B233D5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/>
            <a:t>FARMACIA</a:t>
          </a:r>
        </a:p>
      </dsp:txBody>
      <dsp:txXfrm>
        <a:off x="3217884" y="84932"/>
        <a:ext cx="1806466" cy="875980"/>
      </dsp:txXfrm>
    </dsp:sp>
    <dsp:sp modelId="{84099D88-DA45-493B-BC00-2EF75A9E221B}">
      <dsp:nvSpPr>
        <dsp:cNvPr id="0" name=""/>
        <dsp:cNvSpPr/>
      </dsp:nvSpPr>
      <dsp:spPr>
        <a:xfrm>
          <a:off x="3376728" y="988165"/>
          <a:ext cx="440120" cy="6414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41421"/>
              </a:lnTo>
              <a:lnTo>
                <a:pt x="440120" y="641421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40BAC0-730F-468C-A268-4CE337B40F55}">
      <dsp:nvSpPr>
        <dsp:cNvPr id="0" name=""/>
        <dsp:cNvSpPr/>
      </dsp:nvSpPr>
      <dsp:spPr>
        <a:xfrm>
          <a:off x="3816848" y="1164344"/>
          <a:ext cx="1647541" cy="930486"/>
        </a:xfrm>
        <a:prstGeom prst="roundRect">
          <a:avLst>
            <a:gd name="adj" fmla="val 10000"/>
          </a:avLst>
        </a:prstGeom>
        <a:solidFill>
          <a:srgbClr val="E7E7FF">
            <a:alpha val="89804"/>
          </a:srgbClr>
        </a:solidFill>
        <a:ln w="9525" cap="flat" cmpd="sng" algn="ctr">
          <a:solidFill>
            <a:srgbClr val="770EB2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Objetivo: </a:t>
          </a:r>
          <a:r>
            <a:rPr lang="es-CL" sz="1100" b="0" kern="1200" dirty="0">
              <a:solidFill>
                <a:srgbClr val="1B1B1B"/>
              </a:solidFill>
            </a:rPr>
            <a:t>Mantener informada a la población sobre las farmacias de turno a nivel nacional</a:t>
          </a:r>
          <a:endParaRPr lang="es-CL" sz="2000" b="0" kern="1200" dirty="0">
            <a:solidFill>
              <a:srgbClr val="1B1B1B"/>
            </a:solidFill>
          </a:endParaRPr>
        </a:p>
      </dsp:txBody>
      <dsp:txXfrm>
        <a:off x="3844101" y="1191597"/>
        <a:ext cx="1593035" cy="875980"/>
      </dsp:txXfrm>
    </dsp:sp>
    <dsp:sp modelId="{34327BF4-1CE4-4EC1-B596-37CE9AA885DB}">
      <dsp:nvSpPr>
        <dsp:cNvPr id="0" name=""/>
        <dsp:cNvSpPr/>
      </dsp:nvSpPr>
      <dsp:spPr>
        <a:xfrm>
          <a:off x="3376728" y="988165"/>
          <a:ext cx="440120" cy="17985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98569"/>
              </a:lnTo>
              <a:lnTo>
                <a:pt x="440120" y="1798569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3080A38-A292-49F0-8CAD-FD2C02E715E4}">
      <dsp:nvSpPr>
        <dsp:cNvPr id="0" name=""/>
        <dsp:cNvSpPr/>
      </dsp:nvSpPr>
      <dsp:spPr>
        <a:xfrm>
          <a:off x="3816848" y="2327452"/>
          <a:ext cx="1619225" cy="918566"/>
        </a:xfrm>
        <a:prstGeom prst="roundRect">
          <a:avLst>
            <a:gd name="adj" fmla="val 10000"/>
          </a:avLst>
        </a:prstGeom>
        <a:solidFill>
          <a:srgbClr val="E7E7FF">
            <a:alpha val="90000"/>
          </a:srgbClr>
        </a:solidFill>
        <a:ln w="9525" cap="flat" cmpd="sng" algn="ctr">
          <a:solidFill>
            <a:srgbClr val="770EB2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  <a:latin typeface="+mn-lt"/>
            </a:rPr>
            <a:t>Cliente Interno: </a:t>
          </a:r>
          <a:r>
            <a:rPr lang="es-CL" sz="1100" kern="1200" dirty="0">
              <a:solidFill>
                <a:srgbClr val="1B1B1B"/>
              </a:solidFill>
              <a:latin typeface="+mn-lt"/>
            </a:rPr>
            <a:t>Funcionarios </a:t>
          </a:r>
          <a:r>
            <a:rPr lang="es-CL" sz="1100" kern="1200" dirty="0" err="1" smtClean="0">
              <a:solidFill>
                <a:srgbClr val="1B1B1B"/>
              </a:solidFill>
              <a:latin typeface="+mn-lt"/>
            </a:rPr>
            <a:t>SEREMIs</a:t>
          </a:r>
          <a:endParaRPr lang="es-CL" sz="1100" kern="1200" dirty="0">
            <a:solidFill>
              <a:srgbClr val="1B1B1B"/>
            </a:solidFill>
            <a:latin typeface="+mn-lt"/>
          </a:endParaRP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  <a:latin typeface="+mn-lt"/>
            </a:rPr>
            <a:t>Cliente Externo</a:t>
          </a:r>
          <a:r>
            <a:rPr lang="es-CL" sz="1100" kern="1200" dirty="0">
              <a:solidFill>
                <a:srgbClr val="1B1B1B"/>
              </a:solidFill>
              <a:latin typeface="+mn-lt"/>
            </a:rPr>
            <a:t>: Comunidad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1100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3843752" y="2354356"/>
        <a:ext cx="1565417" cy="864758"/>
      </dsp:txXfrm>
    </dsp:sp>
    <dsp:sp modelId="{ED8356AA-4FF3-4C94-86D4-33D7492D9366}">
      <dsp:nvSpPr>
        <dsp:cNvPr id="0" name=""/>
        <dsp:cNvSpPr/>
      </dsp:nvSpPr>
      <dsp:spPr>
        <a:xfrm>
          <a:off x="3376728" y="988165"/>
          <a:ext cx="440120" cy="297141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71415"/>
              </a:lnTo>
              <a:lnTo>
                <a:pt x="440120" y="2971415"/>
              </a:lnTo>
            </a:path>
          </a:pathLst>
        </a:custGeom>
        <a:noFill/>
        <a:ln w="25400" cap="flat" cmpd="sng" algn="ctr">
          <a:solidFill>
            <a:schemeClr val="accent6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9500BED-E339-42BC-86E0-49507C8F2259}">
      <dsp:nvSpPr>
        <dsp:cNvPr id="0" name=""/>
        <dsp:cNvSpPr/>
      </dsp:nvSpPr>
      <dsp:spPr>
        <a:xfrm>
          <a:off x="3816848" y="3478640"/>
          <a:ext cx="1642688" cy="961881"/>
        </a:xfrm>
        <a:prstGeom prst="roundRect">
          <a:avLst>
            <a:gd name="adj" fmla="val 10000"/>
          </a:avLst>
        </a:prstGeom>
        <a:solidFill>
          <a:srgbClr val="E7E7FF">
            <a:alpha val="90000"/>
          </a:srgbClr>
        </a:solidFill>
        <a:ln w="9525" cap="flat" cmpd="sng" algn="ctr">
          <a:solidFill>
            <a:srgbClr val="770EB2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Referente: 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 dirty="0" err="1">
              <a:solidFill>
                <a:srgbClr val="1B1B1B"/>
              </a:solidFill>
            </a:rPr>
            <a:t>Karem</a:t>
          </a:r>
          <a:r>
            <a:rPr lang="es-CL" sz="1100" kern="1200" dirty="0">
              <a:solidFill>
                <a:srgbClr val="1B1B1B"/>
              </a:solidFill>
            </a:rPr>
            <a:t> Castillo</a:t>
          </a:r>
        </a:p>
      </dsp:txBody>
      <dsp:txXfrm>
        <a:off x="3845021" y="3506813"/>
        <a:ext cx="1586342" cy="905535"/>
      </dsp:txXfrm>
    </dsp:sp>
    <dsp:sp modelId="{A094DAF6-161A-48A6-B978-DABD7441AB19}">
      <dsp:nvSpPr>
        <dsp:cNvPr id="0" name=""/>
        <dsp:cNvSpPr/>
      </dsp:nvSpPr>
      <dsp:spPr>
        <a:xfrm>
          <a:off x="3376728" y="988165"/>
          <a:ext cx="440120" cy="41438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143809"/>
              </a:lnTo>
              <a:lnTo>
                <a:pt x="440120" y="4143809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282591-F9D6-4D71-87B7-F071E96D36ED}">
      <dsp:nvSpPr>
        <dsp:cNvPr id="0" name=""/>
        <dsp:cNvSpPr/>
      </dsp:nvSpPr>
      <dsp:spPr>
        <a:xfrm>
          <a:off x="3816848" y="4673143"/>
          <a:ext cx="1701867" cy="917664"/>
        </a:xfrm>
        <a:prstGeom prst="roundRect">
          <a:avLst>
            <a:gd name="adj" fmla="val 10000"/>
          </a:avLst>
        </a:prstGeom>
        <a:solidFill>
          <a:srgbClr val="E7E7FF">
            <a:alpha val="90000"/>
          </a:srgbClr>
        </a:solidFill>
        <a:ln w="9525" cap="flat" cmpd="sng" algn="ctr">
          <a:solidFill>
            <a:srgbClr val="770EB2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Impacto (+)</a:t>
          </a:r>
          <a:r>
            <a:rPr lang="es-CL" sz="1100" b="0" kern="1200" dirty="0">
              <a:solidFill>
                <a:srgbClr val="1B1B1B"/>
              </a:solidFill>
            </a:rPr>
            <a:t>Permitir a la población el acceso a medicamentos según su localidad durante las 24 </a:t>
          </a:r>
          <a:r>
            <a:rPr lang="es-CL" sz="1100" b="0" kern="1200" dirty="0" err="1">
              <a:solidFill>
                <a:srgbClr val="1B1B1B"/>
              </a:solidFill>
            </a:rPr>
            <a:t>hrs</a:t>
          </a:r>
          <a:r>
            <a:rPr lang="es-CL" sz="1100" b="0" kern="1200" dirty="0">
              <a:solidFill>
                <a:srgbClr val="1B1B1B"/>
              </a:solidFill>
            </a:rPr>
            <a:t>.</a:t>
          </a:r>
        </a:p>
      </dsp:txBody>
      <dsp:txXfrm>
        <a:off x="3843725" y="4700020"/>
        <a:ext cx="1648113" cy="863910"/>
      </dsp:txXfrm>
    </dsp:sp>
    <dsp:sp modelId="{4A1F2038-FA57-4AC2-8252-3ACCDA100695}">
      <dsp:nvSpPr>
        <dsp:cNvPr id="0" name=""/>
        <dsp:cNvSpPr/>
      </dsp:nvSpPr>
      <dsp:spPr>
        <a:xfrm>
          <a:off x="6335359" y="15351"/>
          <a:ext cx="1860972" cy="930486"/>
        </a:xfrm>
        <a:prstGeom prst="roundRect">
          <a:avLst>
            <a:gd name="adj" fmla="val 10000"/>
          </a:avLst>
        </a:prstGeom>
        <a:solidFill>
          <a:srgbClr val="FF993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/>
            <a:t>  CALIDAD</a:t>
          </a:r>
        </a:p>
      </dsp:txBody>
      <dsp:txXfrm>
        <a:off x="6362612" y="42604"/>
        <a:ext cx="1806466" cy="875980"/>
      </dsp:txXfrm>
    </dsp:sp>
    <dsp:sp modelId="{80AEAD2E-F332-49ED-B347-BB757F2051EC}">
      <dsp:nvSpPr>
        <dsp:cNvPr id="0" name=""/>
        <dsp:cNvSpPr/>
      </dsp:nvSpPr>
      <dsp:spPr>
        <a:xfrm>
          <a:off x="6521456" y="945838"/>
          <a:ext cx="355442" cy="6696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69633"/>
              </a:lnTo>
              <a:lnTo>
                <a:pt x="355442" y="669633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4CCD24-1E2C-453D-BF22-88DF87AF73A9}">
      <dsp:nvSpPr>
        <dsp:cNvPr id="0" name=""/>
        <dsp:cNvSpPr/>
      </dsp:nvSpPr>
      <dsp:spPr>
        <a:xfrm>
          <a:off x="6876898" y="1150228"/>
          <a:ext cx="1488778" cy="930486"/>
        </a:xfrm>
        <a:prstGeom prst="roundRect">
          <a:avLst>
            <a:gd name="adj" fmla="val 10000"/>
          </a:avLst>
        </a:prstGeom>
        <a:solidFill>
          <a:srgbClr val="FFE2C5">
            <a:alpha val="89804"/>
          </a:srgb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Objetivo: </a:t>
          </a:r>
          <a:r>
            <a:rPr lang="es-CL" sz="1100" b="0" kern="1200" dirty="0">
              <a:solidFill>
                <a:srgbClr val="1B1B1B"/>
              </a:solidFill>
            </a:rPr>
            <a:t>Buscar la mejora continua de los procesos que se llevan a cabo al interior del MINSAL </a:t>
          </a:r>
        </a:p>
      </dsp:txBody>
      <dsp:txXfrm>
        <a:off x="6904151" y="1177481"/>
        <a:ext cx="1434272" cy="875980"/>
      </dsp:txXfrm>
    </dsp:sp>
    <dsp:sp modelId="{AC4AE9B6-DFD3-48C1-9A53-5B6F93D311A8}">
      <dsp:nvSpPr>
        <dsp:cNvPr id="0" name=""/>
        <dsp:cNvSpPr/>
      </dsp:nvSpPr>
      <dsp:spPr>
        <a:xfrm>
          <a:off x="6521456" y="945838"/>
          <a:ext cx="369540" cy="184685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46857"/>
              </a:lnTo>
              <a:lnTo>
                <a:pt x="369540" y="1846857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A7663D-4801-4EEA-BC36-9D7BE3DC1324}">
      <dsp:nvSpPr>
        <dsp:cNvPr id="0" name=""/>
        <dsp:cNvSpPr/>
      </dsp:nvSpPr>
      <dsp:spPr>
        <a:xfrm>
          <a:off x="6890997" y="2327452"/>
          <a:ext cx="1530359" cy="930486"/>
        </a:xfrm>
        <a:prstGeom prst="roundRect">
          <a:avLst>
            <a:gd name="adj" fmla="val 10000"/>
          </a:avLst>
        </a:prstGeom>
        <a:solidFill>
          <a:srgbClr val="FFE2C5">
            <a:alpha val="90000"/>
          </a:srgb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  <a:latin typeface="+mn-lt"/>
            </a:rPr>
            <a:t>Cliente Interno: </a:t>
          </a:r>
          <a:r>
            <a:rPr lang="es-CL" sz="1100" kern="1200" dirty="0">
              <a:solidFill>
                <a:srgbClr val="1B1B1B"/>
              </a:solidFill>
              <a:latin typeface="+mn-lt"/>
            </a:rPr>
            <a:t>Funcionarios </a:t>
          </a:r>
          <a:r>
            <a:rPr lang="es-CL" sz="1100" kern="1200" dirty="0" err="1" smtClean="0">
              <a:solidFill>
                <a:srgbClr val="1B1B1B"/>
              </a:solidFill>
              <a:latin typeface="+mn-lt"/>
            </a:rPr>
            <a:t>SEREMIs</a:t>
          </a:r>
          <a:endParaRPr lang="es-CL" sz="1100" kern="1200" dirty="0">
            <a:solidFill>
              <a:srgbClr val="1B1B1B"/>
            </a:solidFill>
            <a:latin typeface="+mn-lt"/>
          </a:endParaRP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  <a:latin typeface="+mn-lt"/>
            </a:rPr>
            <a:t>Cliente Externo</a:t>
          </a:r>
          <a:r>
            <a:rPr lang="es-CL" sz="1100" kern="1200" dirty="0">
              <a:solidFill>
                <a:srgbClr val="1B1B1B"/>
              </a:solidFill>
              <a:latin typeface="+mn-lt"/>
            </a:rPr>
            <a:t>: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 dirty="0">
              <a:solidFill>
                <a:srgbClr val="1B1B1B"/>
              </a:solidFill>
              <a:latin typeface="+mn-lt"/>
            </a:rPr>
            <a:t>Comunidad</a:t>
          </a:r>
        </a:p>
      </dsp:txBody>
      <dsp:txXfrm>
        <a:off x="6918250" y="2354705"/>
        <a:ext cx="1475853" cy="875980"/>
      </dsp:txXfrm>
    </dsp:sp>
    <dsp:sp modelId="{553F0568-A673-45CB-95BE-4F77D8A4A58F}">
      <dsp:nvSpPr>
        <dsp:cNvPr id="0" name=""/>
        <dsp:cNvSpPr/>
      </dsp:nvSpPr>
      <dsp:spPr>
        <a:xfrm>
          <a:off x="6521456" y="945838"/>
          <a:ext cx="397768" cy="30240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24071"/>
              </a:lnTo>
              <a:lnTo>
                <a:pt x="397768" y="3024071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BC3C2DE-9EAD-4869-A336-94FDD377E048}">
      <dsp:nvSpPr>
        <dsp:cNvPr id="0" name=""/>
        <dsp:cNvSpPr/>
      </dsp:nvSpPr>
      <dsp:spPr>
        <a:xfrm>
          <a:off x="6919224" y="3504666"/>
          <a:ext cx="1488778" cy="930486"/>
        </a:xfrm>
        <a:prstGeom prst="roundRect">
          <a:avLst>
            <a:gd name="adj" fmla="val 10000"/>
          </a:avLst>
        </a:prstGeom>
        <a:solidFill>
          <a:srgbClr val="FFE2C5">
            <a:alpha val="90000"/>
          </a:srgb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Referente:</a:t>
          </a:r>
          <a:endParaRPr lang="es-CL" sz="2000" b="1" kern="1200" dirty="0">
            <a:solidFill>
              <a:srgbClr val="1B1B1B"/>
            </a:solidFill>
          </a:endParaRP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 dirty="0">
              <a:solidFill>
                <a:srgbClr val="1B1B1B"/>
              </a:solidFill>
            </a:rPr>
            <a:t>Paula Cisternas</a:t>
          </a:r>
        </a:p>
      </dsp:txBody>
      <dsp:txXfrm>
        <a:off x="6946477" y="3531919"/>
        <a:ext cx="1434272" cy="875980"/>
      </dsp:txXfrm>
    </dsp:sp>
    <dsp:sp modelId="{EAAB32A4-E0E6-4BA2-921B-10C63878908B}">
      <dsp:nvSpPr>
        <dsp:cNvPr id="0" name=""/>
        <dsp:cNvSpPr/>
      </dsp:nvSpPr>
      <dsp:spPr>
        <a:xfrm>
          <a:off x="6521456" y="945838"/>
          <a:ext cx="411881" cy="41739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173911"/>
              </a:lnTo>
              <a:lnTo>
                <a:pt x="411881" y="4173911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1E3552-3CB3-4CD8-8A5E-E9128AFBAF32}">
      <dsp:nvSpPr>
        <dsp:cNvPr id="0" name=""/>
        <dsp:cNvSpPr/>
      </dsp:nvSpPr>
      <dsp:spPr>
        <a:xfrm>
          <a:off x="6933338" y="4654505"/>
          <a:ext cx="1488778" cy="930486"/>
        </a:xfrm>
        <a:prstGeom prst="roundRect">
          <a:avLst>
            <a:gd name="adj" fmla="val 10000"/>
          </a:avLst>
        </a:prstGeom>
        <a:solidFill>
          <a:srgbClr val="FFE2C5">
            <a:alpha val="90000"/>
          </a:srgb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Impacto (+) </a:t>
          </a:r>
          <a:r>
            <a:rPr lang="es-CL" sz="1100" b="0" kern="1200" dirty="0">
              <a:solidFill>
                <a:srgbClr val="1B1B1B"/>
              </a:solidFill>
            </a:rPr>
            <a:t>Estandarización de procesos, generando una respuesta a tiempo </a:t>
          </a:r>
          <a:endParaRPr lang="es-CL" sz="2400" b="0" kern="1200" dirty="0">
            <a:solidFill>
              <a:srgbClr val="1B1B1B"/>
            </a:solidFill>
          </a:endParaRPr>
        </a:p>
      </dsp:txBody>
      <dsp:txXfrm>
        <a:off x="6960591" y="4681758"/>
        <a:ext cx="1434272" cy="87598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36CD1C-4CDD-455D-9997-CCE8CF7F334A}">
      <dsp:nvSpPr>
        <dsp:cNvPr id="0" name=""/>
        <dsp:cNvSpPr/>
      </dsp:nvSpPr>
      <dsp:spPr>
        <a:xfrm>
          <a:off x="7497" y="69719"/>
          <a:ext cx="2153273" cy="909021"/>
        </a:xfrm>
        <a:prstGeom prst="roundRect">
          <a:avLst>
            <a:gd name="adj" fmla="val 10000"/>
          </a:avLst>
        </a:prstGeom>
        <a:solidFill>
          <a:srgbClr val="00999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/>
            <a:t>EMERGENCIAS</a:t>
          </a:r>
        </a:p>
      </dsp:txBody>
      <dsp:txXfrm>
        <a:off x="34121" y="96343"/>
        <a:ext cx="2100025" cy="855773"/>
      </dsp:txXfrm>
    </dsp:sp>
    <dsp:sp modelId="{E0CA4CE8-DF13-4590-987B-E1F14878D0D0}">
      <dsp:nvSpPr>
        <dsp:cNvPr id="0" name=""/>
        <dsp:cNvSpPr/>
      </dsp:nvSpPr>
      <dsp:spPr>
        <a:xfrm>
          <a:off x="222824" y="978741"/>
          <a:ext cx="462490" cy="6736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73639"/>
              </a:lnTo>
              <a:lnTo>
                <a:pt x="462490" y="673639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5CC0D6-A987-4F3E-A514-4EB36E1C05A6}">
      <dsp:nvSpPr>
        <dsp:cNvPr id="0" name=""/>
        <dsp:cNvSpPr/>
      </dsp:nvSpPr>
      <dsp:spPr>
        <a:xfrm>
          <a:off x="685314" y="1256284"/>
          <a:ext cx="1763968" cy="792194"/>
        </a:xfrm>
        <a:prstGeom prst="roundRect">
          <a:avLst>
            <a:gd name="adj" fmla="val 10000"/>
          </a:avLst>
        </a:prstGeom>
        <a:solidFill>
          <a:srgbClr val="D1F7EA">
            <a:alpha val="89804"/>
          </a:srgbClr>
        </a:solidFill>
        <a:ln w="9525" cap="flat" cmpd="sng" algn="ctr">
          <a:solidFill>
            <a:srgbClr val="00808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Objetivo: </a:t>
          </a:r>
          <a:r>
            <a:rPr lang="es-CL" sz="1100" b="0" kern="1200" dirty="0">
              <a:solidFill>
                <a:srgbClr val="1B1B1B"/>
              </a:solidFill>
            </a:rPr>
            <a:t>Gestionar el registro y la respuesta ante los eventos de emergencia</a:t>
          </a:r>
        </a:p>
      </dsp:txBody>
      <dsp:txXfrm>
        <a:off x="708517" y="1279487"/>
        <a:ext cx="1717562" cy="745788"/>
      </dsp:txXfrm>
    </dsp:sp>
    <dsp:sp modelId="{7EDB7E69-381A-499F-BF32-533698ED6D9E}">
      <dsp:nvSpPr>
        <dsp:cNvPr id="0" name=""/>
        <dsp:cNvSpPr/>
      </dsp:nvSpPr>
      <dsp:spPr>
        <a:xfrm>
          <a:off x="222824" y="978741"/>
          <a:ext cx="462490" cy="17201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0119"/>
              </a:lnTo>
              <a:lnTo>
                <a:pt x="462490" y="1720119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98833A-40BB-462F-8173-10509195D56C}">
      <dsp:nvSpPr>
        <dsp:cNvPr id="0" name=""/>
        <dsp:cNvSpPr/>
      </dsp:nvSpPr>
      <dsp:spPr>
        <a:xfrm>
          <a:off x="685314" y="2314694"/>
          <a:ext cx="1763968" cy="768332"/>
        </a:xfrm>
        <a:prstGeom prst="roundRect">
          <a:avLst>
            <a:gd name="adj" fmla="val 10000"/>
          </a:avLst>
        </a:prstGeom>
        <a:solidFill>
          <a:srgbClr val="D1F7EA">
            <a:alpha val="90000"/>
          </a:srgbClr>
        </a:solidFill>
        <a:ln w="9525" cap="flat" cmpd="sng" algn="ctr">
          <a:solidFill>
            <a:srgbClr val="00808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  <a:latin typeface="+mn-lt"/>
            </a:rPr>
            <a:t>Cliente Interno: 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 dirty="0" err="1">
              <a:solidFill>
                <a:srgbClr val="1B1B1B"/>
              </a:solidFill>
              <a:latin typeface="+mn-lt"/>
            </a:rPr>
            <a:t>SEREMIs</a:t>
          </a:r>
          <a:endParaRPr lang="es-CL" sz="1100" kern="1200" dirty="0">
            <a:solidFill>
              <a:srgbClr val="1B1B1B"/>
            </a:solidFill>
            <a:latin typeface="+mn-lt"/>
          </a:endParaRP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 dirty="0">
              <a:solidFill>
                <a:srgbClr val="1B1B1B"/>
              </a:solidFill>
              <a:latin typeface="+mn-lt"/>
            </a:rPr>
            <a:t>Servicio de Salud</a:t>
          </a:r>
        </a:p>
      </dsp:txBody>
      <dsp:txXfrm>
        <a:off x="707818" y="2337198"/>
        <a:ext cx="1718960" cy="723324"/>
      </dsp:txXfrm>
    </dsp:sp>
    <dsp:sp modelId="{2090B7D8-B3E0-4B2F-AFC1-6E82D4E32AFB}">
      <dsp:nvSpPr>
        <dsp:cNvPr id="0" name=""/>
        <dsp:cNvSpPr/>
      </dsp:nvSpPr>
      <dsp:spPr>
        <a:xfrm>
          <a:off x="222824" y="978741"/>
          <a:ext cx="462490" cy="27081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08185"/>
              </a:lnTo>
              <a:lnTo>
                <a:pt x="462490" y="2708185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FB85B1-0560-4612-929C-E666117661C5}">
      <dsp:nvSpPr>
        <dsp:cNvPr id="0" name=""/>
        <dsp:cNvSpPr/>
      </dsp:nvSpPr>
      <dsp:spPr>
        <a:xfrm>
          <a:off x="685314" y="3373105"/>
          <a:ext cx="1763968" cy="627643"/>
        </a:xfrm>
        <a:prstGeom prst="roundRect">
          <a:avLst>
            <a:gd name="adj" fmla="val 10000"/>
          </a:avLst>
        </a:prstGeom>
        <a:solidFill>
          <a:srgbClr val="D1F7EA">
            <a:alpha val="90000"/>
          </a:srgbClr>
        </a:solidFill>
        <a:ln w="9525" cap="flat" cmpd="sng" algn="ctr">
          <a:solidFill>
            <a:srgbClr val="00808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Referente: 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 dirty="0">
              <a:solidFill>
                <a:srgbClr val="1B1B1B"/>
              </a:solidFill>
            </a:rPr>
            <a:t>Felipe Zúñiga (DEGREYD)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 dirty="0">
              <a:solidFill>
                <a:srgbClr val="1B1B1B"/>
              </a:solidFill>
            </a:rPr>
            <a:t>Guido Martinez (DIPOL)</a:t>
          </a:r>
        </a:p>
      </dsp:txBody>
      <dsp:txXfrm>
        <a:off x="703697" y="3391488"/>
        <a:ext cx="1727202" cy="590877"/>
      </dsp:txXfrm>
    </dsp:sp>
    <dsp:sp modelId="{231CFEE3-EF12-4482-A39F-04BAC3EAFDD4}">
      <dsp:nvSpPr>
        <dsp:cNvPr id="0" name=""/>
        <dsp:cNvSpPr/>
      </dsp:nvSpPr>
      <dsp:spPr>
        <a:xfrm>
          <a:off x="222824" y="978741"/>
          <a:ext cx="462490" cy="37088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08827"/>
              </a:lnTo>
              <a:lnTo>
                <a:pt x="462490" y="3708827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F2D5B3F-8873-4D01-A72A-E045084A3BEB}">
      <dsp:nvSpPr>
        <dsp:cNvPr id="0" name=""/>
        <dsp:cNvSpPr/>
      </dsp:nvSpPr>
      <dsp:spPr>
        <a:xfrm>
          <a:off x="685314" y="4233058"/>
          <a:ext cx="1763968" cy="909021"/>
        </a:xfrm>
        <a:prstGeom prst="roundRect">
          <a:avLst>
            <a:gd name="adj" fmla="val 10000"/>
          </a:avLst>
        </a:prstGeom>
        <a:solidFill>
          <a:srgbClr val="D1F7EA">
            <a:alpha val="90000"/>
          </a:srgbClr>
        </a:solidFill>
        <a:ln w="9525" cap="flat" cmpd="sng" algn="ctr">
          <a:solidFill>
            <a:srgbClr val="00808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Impacto (+) </a:t>
          </a:r>
          <a:r>
            <a:rPr lang="es-CL" sz="1100" b="0" kern="1200" dirty="0">
              <a:solidFill>
                <a:srgbClr val="1B1B1B"/>
              </a:solidFill>
            </a:rPr>
            <a:t>Enfoque integral de la gestión del riesgo mediante nuevas tecnologías de información</a:t>
          </a:r>
        </a:p>
      </dsp:txBody>
      <dsp:txXfrm>
        <a:off x="711938" y="4259682"/>
        <a:ext cx="1710720" cy="855773"/>
      </dsp:txXfrm>
    </dsp:sp>
    <dsp:sp modelId="{7B33427B-A5D7-45FA-9C9F-3604B9916F97}">
      <dsp:nvSpPr>
        <dsp:cNvPr id="0" name=""/>
        <dsp:cNvSpPr/>
      </dsp:nvSpPr>
      <dsp:spPr>
        <a:xfrm>
          <a:off x="3049302" y="55720"/>
          <a:ext cx="2024010" cy="909021"/>
        </a:xfrm>
        <a:prstGeom prst="roundRect">
          <a:avLst>
            <a:gd name="adj" fmla="val 10000"/>
          </a:avLst>
        </a:prstGeom>
        <a:solidFill>
          <a:srgbClr val="B233D5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/>
            <a:t>PROMOCIÓN</a:t>
          </a:r>
        </a:p>
      </dsp:txBody>
      <dsp:txXfrm>
        <a:off x="3075926" y="82344"/>
        <a:ext cx="1970762" cy="855773"/>
      </dsp:txXfrm>
    </dsp:sp>
    <dsp:sp modelId="{84099D88-DA45-493B-BC00-2EF75A9E221B}">
      <dsp:nvSpPr>
        <dsp:cNvPr id="0" name=""/>
        <dsp:cNvSpPr/>
      </dsp:nvSpPr>
      <dsp:spPr>
        <a:xfrm>
          <a:off x="3251703" y="964742"/>
          <a:ext cx="339372" cy="6928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2874"/>
              </a:lnTo>
              <a:lnTo>
                <a:pt x="339372" y="692874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40BAC0-730F-468C-A268-4CE337B40F55}">
      <dsp:nvSpPr>
        <dsp:cNvPr id="0" name=""/>
        <dsp:cNvSpPr/>
      </dsp:nvSpPr>
      <dsp:spPr>
        <a:xfrm>
          <a:off x="3591076" y="1256284"/>
          <a:ext cx="1609536" cy="802666"/>
        </a:xfrm>
        <a:prstGeom prst="roundRect">
          <a:avLst>
            <a:gd name="adj" fmla="val 10000"/>
          </a:avLst>
        </a:prstGeom>
        <a:solidFill>
          <a:srgbClr val="E7E7FF">
            <a:alpha val="89804"/>
          </a:srgbClr>
        </a:solidFill>
        <a:ln w="9525" cap="flat" cmpd="sng" algn="ctr">
          <a:solidFill>
            <a:srgbClr val="770EB2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Objetivo: </a:t>
          </a:r>
          <a:r>
            <a:rPr lang="es-CL" sz="1100" b="0" kern="1200" dirty="0">
              <a:solidFill>
                <a:srgbClr val="1B1B1B"/>
              </a:solidFill>
            </a:rPr>
            <a:t>Acompañar y asistir a los municipios, en los procesos de los Planes Trienales de Salud</a:t>
          </a:r>
          <a:endParaRPr lang="es-CL" sz="2000" b="0" kern="1200" dirty="0">
            <a:solidFill>
              <a:srgbClr val="1B1B1B"/>
            </a:solidFill>
          </a:endParaRPr>
        </a:p>
      </dsp:txBody>
      <dsp:txXfrm>
        <a:off x="3614585" y="1279793"/>
        <a:ext cx="1562518" cy="755648"/>
      </dsp:txXfrm>
    </dsp:sp>
    <dsp:sp modelId="{34327BF4-1CE4-4EC1-B596-37CE9AA885DB}">
      <dsp:nvSpPr>
        <dsp:cNvPr id="0" name=""/>
        <dsp:cNvSpPr/>
      </dsp:nvSpPr>
      <dsp:spPr>
        <a:xfrm>
          <a:off x="3251703" y="964742"/>
          <a:ext cx="339372" cy="17852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85246"/>
              </a:lnTo>
              <a:lnTo>
                <a:pt x="339372" y="1785246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3080A38-A292-49F0-8CAD-FD2C02E715E4}">
      <dsp:nvSpPr>
        <dsp:cNvPr id="0" name=""/>
        <dsp:cNvSpPr/>
      </dsp:nvSpPr>
      <dsp:spPr>
        <a:xfrm>
          <a:off x="3591076" y="2380844"/>
          <a:ext cx="1581872" cy="738289"/>
        </a:xfrm>
        <a:prstGeom prst="roundRect">
          <a:avLst>
            <a:gd name="adj" fmla="val 10000"/>
          </a:avLst>
        </a:prstGeom>
        <a:solidFill>
          <a:srgbClr val="E7E7FF">
            <a:alpha val="90000"/>
          </a:srgbClr>
        </a:solidFill>
        <a:ln w="9525" cap="flat" cmpd="sng" algn="ctr">
          <a:solidFill>
            <a:srgbClr val="770EB2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1100" b="1" kern="1200" dirty="0">
            <a:solidFill>
              <a:srgbClr val="1B1B1B"/>
            </a:solidFill>
            <a:latin typeface="+mn-lt"/>
          </a:endParaRP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  <a:latin typeface="+mn-lt"/>
            </a:rPr>
            <a:t>Cliente Interno: </a:t>
          </a:r>
          <a:r>
            <a:rPr lang="es-CL" sz="1100" kern="1200" dirty="0" err="1">
              <a:solidFill>
                <a:srgbClr val="1B1B1B"/>
              </a:solidFill>
              <a:latin typeface="+mn-lt"/>
            </a:rPr>
            <a:t>SEREMIs</a:t>
          </a:r>
          <a:endParaRPr lang="es-CL" sz="1100" kern="1200" dirty="0">
            <a:solidFill>
              <a:srgbClr val="1B1B1B"/>
            </a:solidFill>
            <a:latin typeface="+mn-lt"/>
          </a:endParaRP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  <a:latin typeface="+mn-lt"/>
            </a:rPr>
            <a:t>Cliente Externo</a:t>
          </a:r>
          <a:r>
            <a:rPr lang="es-CL" sz="1100" kern="1200" dirty="0">
              <a:solidFill>
                <a:srgbClr val="1B1B1B"/>
              </a:solidFill>
              <a:latin typeface="+mn-lt"/>
            </a:rPr>
            <a:t>: Municipalidades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1100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3612700" y="2402468"/>
        <a:ext cx="1538624" cy="695041"/>
      </dsp:txXfrm>
    </dsp:sp>
    <dsp:sp modelId="{ED8356AA-4FF3-4C94-86D4-33D7492D9366}">
      <dsp:nvSpPr>
        <dsp:cNvPr id="0" name=""/>
        <dsp:cNvSpPr/>
      </dsp:nvSpPr>
      <dsp:spPr>
        <a:xfrm>
          <a:off x="3251703" y="964742"/>
          <a:ext cx="308567" cy="27304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30438"/>
              </a:lnTo>
              <a:lnTo>
                <a:pt x="308567" y="2730438"/>
              </a:lnTo>
            </a:path>
          </a:pathLst>
        </a:custGeom>
        <a:noFill/>
        <a:ln w="25400" cap="flat" cmpd="sng" algn="ctr">
          <a:solidFill>
            <a:schemeClr val="accent6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9500BED-E339-42BC-86E0-49507C8F2259}">
      <dsp:nvSpPr>
        <dsp:cNvPr id="0" name=""/>
        <dsp:cNvSpPr/>
      </dsp:nvSpPr>
      <dsp:spPr>
        <a:xfrm>
          <a:off x="3560271" y="3439255"/>
          <a:ext cx="1604794" cy="511852"/>
        </a:xfrm>
        <a:prstGeom prst="roundRect">
          <a:avLst>
            <a:gd name="adj" fmla="val 10000"/>
          </a:avLst>
        </a:prstGeom>
        <a:solidFill>
          <a:srgbClr val="E7E7FF">
            <a:alpha val="90000"/>
          </a:srgbClr>
        </a:solidFill>
        <a:ln w="9525" cap="flat" cmpd="sng" algn="ctr">
          <a:solidFill>
            <a:srgbClr val="770EB2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Referente: 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 dirty="0">
              <a:solidFill>
                <a:srgbClr val="1B1B1B"/>
              </a:solidFill>
            </a:rPr>
            <a:t>Carolina Cobos (DIPOL)</a:t>
          </a:r>
        </a:p>
      </dsp:txBody>
      <dsp:txXfrm>
        <a:off x="3575263" y="3454247"/>
        <a:ext cx="1574810" cy="481868"/>
      </dsp:txXfrm>
    </dsp:sp>
    <dsp:sp modelId="{A094DAF6-161A-48A6-B978-DABD7441AB19}">
      <dsp:nvSpPr>
        <dsp:cNvPr id="0" name=""/>
        <dsp:cNvSpPr/>
      </dsp:nvSpPr>
      <dsp:spPr>
        <a:xfrm>
          <a:off x="3251703" y="964742"/>
          <a:ext cx="278082" cy="36781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78134"/>
              </a:lnTo>
              <a:lnTo>
                <a:pt x="278082" y="3678134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282591-F9D6-4D71-87B7-F071E96D36ED}">
      <dsp:nvSpPr>
        <dsp:cNvPr id="0" name=""/>
        <dsp:cNvSpPr/>
      </dsp:nvSpPr>
      <dsp:spPr>
        <a:xfrm>
          <a:off x="3529786" y="4166908"/>
          <a:ext cx="1662608" cy="951936"/>
        </a:xfrm>
        <a:prstGeom prst="roundRect">
          <a:avLst>
            <a:gd name="adj" fmla="val 10000"/>
          </a:avLst>
        </a:prstGeom>
        <a:solidFill>
          <a:srgbClr val="E7E7FF">
            <a:alpha val="90000"/>
          </a:srgbClr>
        </a:solidFill>
        <a:ln w="9525" cap="flat" cmpd="sng" algn="ctr">
          <a:solidFill>
            <a:srgbClr val="770EB2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Impacto (+) </a:t>
          </a:r>
          <a:r>
            <a:rPr lang="es-CL" sz="1100" b="0" kern="1200" dirty="0">
              <a:solidFill>
                <a:srgbClr val="1B1B1B"/>
              </a:solidFill>
            </a:rPr>
            <a:t>Fomento de los cambios en los modos de vida y las condiciones del entorno para el desarrollo de una cultura de salud.</a:t>
          </a:r>
        </a:p>
      </dsp:txBody>
      <dsp:txXfrm>
        <a:off x="3557667" y="4194789"/>
        <a:ext cx="1606846" cy="896174"/>
      </dsp:txXfrm>
    </dsp:sp>
    <dsp:sp modelId="{4A1F2038-FA57-4AC2-8252-3ACCDA100695}">
      <dsp:nvSpPr>
        <dsp:cNvPr id="0" name=""/>
        <dsp:cNvSpPr/>
      </dsp:nvSpPr>
      <dsp:spPr>
        <a:xfrm>
          <a:off x="6018186" y="65574"/>
          <a:ext cx="2096422" cy="909021"/>
        </a:xfrm>
        <a:prstGeom prst="roundRect">
          <a:avLst>
            <a:gd name="adj" fmla="val 10000"/>
          </a:avLst>
        </a:prstGeom>
        <a:solidFill>
          <a:srgbClr val="FF993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/>
            <a:t>SINAISO</a:t>
          </a:r>
        </a:p>
      </dsp:txBody>
      <dsp:txXfrm>
        <a:off x="6044810" y="92198"/>
        <a:ext cx="2043174" cy="855773"/>
      </dsp:txXfrm>
    </dsp:sp>
    <dsp:sp modelId="{80AEAD2E-F332-49ED-B347-BB757F2051EC}">
      <dsp:nvSpPr>
        <dsp:cNvPr id="0" name=""/>
        <dsp:cNvSpPr/>
      </dsp:nvSpPr>
      <dsp:spPr>
        <a:xfrm>
          <a:off x="6227828" y="974596"/>
          <a:ext cx="286298" cy="6038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03899"/>
              </a:lnTo>
              <a:lnTo>
                <a:pt x="286298" y="603899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4CCD24-1E2C-453D-BF22-88DF87AF73A9}">
      <dsp:nvSpPr>
        <dsp:cNvPr id="0" name=""/>
        <dsp:cNvSpPr/>
      </dsp:nvSpPr>
      <dsp:spPr>
        <a:xfrm>
          <a:off x="6514127" y="1123985"/>
          <a:ext cx="1692278" cy="909021"/>
        </a:xfrm>
        <a:prstGeom prst="roundRect">
          <a:avLst>
            <a:gd name="adj" fmla="val 10000"/>
          </a:avLst>
        </a:prstGeom>
        <a:solidFill>
          <a:srgbClr val="FFE2C5">
            <a:alpha val="89804"/>
          </a:srgb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Objetivo: </a:t>
          </a:r>
          <a:r>
            <a:rPr lang="es-CL" sz="1100" b="0" kern="1200" dirty="0">
              <a:solidFill>
                <a:srgbClr val="1B1B1B"/>
              </a:solidFill>
            </a:rPr>
            <a:t>Gestionar el registro de denuncias de accidentes de trabajo y/o enfermedades profesionales</a:t>
          </a:r>
        </a:p>
      </dsp:txBody>
      <dsp:txXfrm>
        <a:off x="6540751" y="1150609"/>
        <a:ext cx="1639030" cy="855773"/>
      </dsp:txXfrm>
    </dsp:sp>
    <dsp:sp modelId="{AC4AE9B6-DFD3-48C1-9A53-5B6F93D311A8}">
      <dsp:nvSpPr>
        <dsp:cNvPr id="0" name=""/>
        <dsp:cNvSpPr/>
      </dsp:nvSpPr>
      <dsp:spPr>
        <a:xfrm>
          <a:off x="6227828" y="974596"/>
          <a:ext cx="318514" cy="198106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81063"/>
              </a:lnTo>
              <a:lnTo>
                <a:pt x="318514" y="1981063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A7663D-4801-4EEA-BC36-9D7BE3DC1324}">
      <dsp:nvSpPr>
        <dsp:cNvPr id="0" name=""/>
        <dsp:cNvSpPr/>
      </dsp:nvSpPr>
      <dsp:spPr>
        <a:xfrm>
          <a:off x="6546342" y="2273134"/>
          <a:ext cx="1631788" cy="1365051"/>
        </a:xfrm>
        <a:prstGeom prst="roundRect">
          <a:avLst>
            <a:gd name="adj" fmla="val 10000"/>
          </a:avLst>
        </a:prstGeom>
        <a:solidFill>
          <a:srgbClr val="FFE2C5">
            <a:alpha val="90000"/>
          </a:srgb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  <a:latin typeface="+mn-lt"/>
            </a:rPr>
            <a:t>Cliente Interno</a:t>
          </a:r>
          <a:r>
            <a:rPr lang="es-CL" sz="1100" b="1" kern="1200" dirty="0" smtClean="0">
              <a:solidFill>
                <a:srgbClr val="1B1B1B"/>
              </a:solidFill>
              <a:latin typeface="+mn-lt"/>
            </a:rPr>
            <a:t>: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0" kern="1200" dirty="0" err="1" smtClean="0">
              <a:solidFill>
                <a:srgbClr val="1B1B1B"/>
              </a:solidFill>
              <a:latin typeface="+mn-lt"/>
            </a:rPr>
            <a:t>SEREMIs</a:t>
          </a:r>
          <a:endParaRPr lang="es-CL" sz="1100" b="0" kern="1200" dirty="0" smtClean="0">
            <a:solidFill>
              <a:srgbClr val="1B1B1B"/>
            </a:solidFill>
            <a:latin typeface="+mn-lt"/>
          </a:endParaRP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0" kern="1200" dirty="0" smtClean="0">
              <a:solidFill>
                <a:srgbClr val="1B1B1B"/>
              </a:solidFill>
              <a:latin typeface="+mn-lt"/>
            </a:rPr>
            <a:t>Servicio de Salud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0" kern="1200" dirty="0" smtClean="0">
              <a:solidFill>
                <a:srgbClr val="1B1B1B"/>
              </a:solidFill>
              <a:latin typeface="+mn-lt"/>
            </a:rPr>
            <a:t>COMPIN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0" kern="1200" dirty="0" smtClean="0">
              <a:solidFill>
                <a:srgbClr val="1B1B1B"/>
              </a:solidFill>
              <a:latin typeface="+mn-lt"/>
            </a:rPr>
            <a:t>ISL</a:t>
          </a:r>
          <a:r>
            <a:rPr lang="es-CL" sz="1100" b="1" kern="1200" dirty="0" smtClean="0">
              <a:solidFill>
                <a:srgbClr val="1B1B1B"/>
              </a:solidFill>
              <a:latin typeface="+mn-lt"/>
            </a:rPr>
            <a:t> </a:t>
          </a:r>
          <a:endParaRPr lang="es-CL" sz="1100" b="1" kern="1200" dirty="0">
            <a:solidFill>
              <a:srgbClr val="1B1B1B"/>
            </a:solidFill>
            <a:latin typeface="+mn-lt"/>
          </a:endParaRP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  <a:latin typeface="+mn-lt"/>
            </a:rPr>
            <a:t>Cliente Externo</a:t>
          </a:r>
          <a:r>
            <a:rPr lang="es-CL" sz="1100" kern="1200" dirty="0" smtClean="0">
              <a:solidFill>
                <a:srgbClr val="1B1B1B"/>
              </a:solidFill>
              <a:latin typeface="+mn-lt"/>
            </a:rPr>
            <a:t>: Trabajadores  </a:t>
          </a:r>
          <a:endParaRPr lang="es-CL" sz="1100" kern="1200" dirty="0">
            <a:solidFill>
              <a:srgbClr val="1B1B1B"/>
            </a:solidFill>
            <a:latin typeface="+mn-lt"/>
          </a:endParaRPr>
        </a:p>
      </dsp:txBody>
      <dsp:txXfrm>
        <a:off x="6586323" y="2313115"/>
        <a:ext cx="1551826" cy="1285089"/>
      </dsp:txXfrm>
    </dsp:sp>
    <dsp:sp modelId="{553F0568-A673-45CB-95BE-4F77D8A4A58F}">
      <dsp:nvSpPr>
        <dsp:cNvPr id="0" name=""/>
        <dsp:cNvSpPr/>
      </dsp:nvSpPr>
      <dsp:spPr>
        <a:xfrm>
          <a:off x="6227828" y="974596"/>
          <a:ext cx="377011" cy="32078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07806"/>
              </a:lnTo>
              <a:lnTo>
                <a:pt x="377011" y="3207806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BC3C2DE-9EAD-4869-A336-94FDD377E048}">
      <dsp:nvSpPr>
        <dsp:cNvPr id="0" name=""/>
        <dsp:cNvSpPr/>
      </dsp:nvSpPr>
      <dsp:spPr>
        <a:xfrm>
          <a:off x="6604840" y="3887530"/>
          <a:ext cx="1559968" cy="589746"/>
        </a:xfrm>
        <a:prstGeom prst="roundRect">
          <a:avLst>
            <a:gd name="adj" fmla="val 10000"/>
          </a:avLst>
        </a:prstGeom>
        <a:solidFill>
          <a:srgbClr val="FFE2C5">
            <a:alpha val="90000"/>
          </a:srgb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Referente: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0" kern="1200" dirty="0">
              <a:solidFill>
                <a:srgbClr val="1B1B1B"/>
              </a:solidFill>
            </a:rPr>
            <a:t>Elisa </a:t>
          </a:r>
          <a:r>
            <a:rPr lang="es-CL" sz="1100" b="0" kern="1200" dirty="0" smtClean="0">
              <a:solidFill>
                <a:srgbClr val="1B1B1B"/>
              </a:solidFill>
            </a:rPr>
            <a:t>Donoso (Salud Ocupacional)</a:t>
          </a:r>
          <a:endParaRPr lang="es-CL" sz="1100" b="0" kern="1200" dirty="0">
            <a:solidFill>
              <a:srgbClr val="1B1B1B"/>
            </a:solidFill>
          </a:endParaRPr>
        </a:p>
      </dsp:txBody>
      <dsp:txXfrm>
        <a:off x="6622113" y="3904803"/>
        <a:ext cx="1525422" cy="555200"/>
      </dsp:txXfrm>
    </dsp:sp>
    <dsp:sp modelId="{EAAB32A4-E0E6-4BA2-921B-10C63878908B}">
      <dsp:nvSpPr>
        <dsp:cNvPr id="0" name=""/>
        <dsp:cNvSpPr/>
      </dsp:nvSpPr>
      <dsp:spPr>
        <a:xfrm>
          <a:off x="6227828" y="974596"/>
          <a:ext cx="359136" cy="41629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162936"/>
              </a:lnTo>
              <a:lnTo>
                <a:pt x="359136" y="4162936"/>
              </a:lnTo>
            </a:path>
          </a:pathLst>
        </a:custGeom>
        <a:noFill/>
        <a:ln w="25400" cap="flat" cmpd="sng" algn="ctr">
          <a:solidFill>
            <a:schemeClr val="bg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1E3552-3CB3-4CD8-8A5E-E9128AFBAF32}">
      <dsp:nvSpPr>
        <dsp:cNvPr id="0" name=""/>
        <dsp:cNvSpPr/>
      </dsp:nvSpPr>
      <dsp:spPr>
        <a:xfrm>
          <a:off x="6586965" y="4683022"/>
          <a:ext cx="1906909" cy="909021"/>
        </a:xfrm>
        <a:prstGeom prst="roundRect">
          <a:avLst>
            <a:gd name="adj" fmla="val 10000"/>
          </a:avLst>
        </a:prstGeom>
        <a:solidFill>
          <a:srgbClr val="FFE2C5">
            <a:alpha val="90000"/>
          </a:srgbClr>
        </a:solidFill>
        <a:ln w="9525" cap="flat" cmpd="sng" algn="ctr">
          <a:solidFill>
            <a:srgbClr val="FF9966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b="1" kern="1200" dirty="0">
              <a:solidFill>
                <a:srgbClr val="1B1B1B"/>
              </a:solidFill>
            </a:rPr>
            <a:t>Impacto </a:t>
          </a:r>
          <a:r>
            <a:rPr lang="es-CL" sz="1100" b="1" kern="1200" dirty="0" smtClean="0">
              <a:solidFill>
                <a:srgbClr val="1B1B1B"/>
              </a:solidFill>
            </a:rPr>
            <a:t>(+) </a:t>
          </a:r>
          <a:r>
            <a:rPr lang="es-CL" sz="1100" b="0" kern="1200" dirty="0" smtClean="0">
              <a:solidFill>
                <a:srgbClr val="1B1B1B"/>
              </a:solidFill>
            </a:rPr>
            <a:t>Identificación de responsables para evitar nueva ocurrencia. Evitar subvención estatal respecto a costos de OAL </a:t>
          </a:r>
          <a:endParaRPr lang="es-CL" sz="2400" b="0" kern="1200" dirty="0">
            <a:solidFill>
              <a:srgbClr val="1B1B1B"/>
            </a:solidFill>
          </a:endParaRPr>
        </a:p>
      </dsp:txBody>
      <dsp:txXfrm>
        <a:off x="6613589" y="4709646"/>
        <a:ext cx="1853661" cy="85577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2">
  <dgm:title val=""/>
  <dgm:desc val=""/>
  <dgm:catLst>
    <dgm:cat type="relationship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chMax val="3"/>
      <dgm:chPref val="1"/>
      <dgm:dir/>
      <dgm:animLvl val="lvl"/>
      <dgm:resizeHandles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 ch" ptType="node node" st="1 1" cnt="1 0" func="cnt" op="gt" val="0">
            <dgm:choose name="Name5">
              <dgm:if name="Name6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2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395"/>
                  <dgm:constr type="t" for="ch" forName="centerBox" refType="h" fact="0.5"/>
                  <dgm:constr type="w" for="ch" forName="centerBox" refType="w" fact="0.55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7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2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225"/>
                  <dgm:constr type="t" for="ch" forName="centerBox" refType="h" fact="0.5"/>
                  <dgm:constr type="w" for="ch" forName="centerBox" refType="w" fact="0.72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if>
          <dgm:else name="Name8">
            <dgm:choose name="Name9">
              <dgm:if name="Name10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26"/>
                  <dgm:constr type="t" for="ch" forName="centerBox" refType="h" fact="0.5"/>
                  <dgm:constr type="w" for="ch" forName="centerBox" refType="w" fact="0.6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11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else>
        </dgm:choose>
      </dgm:if>
      <dgm:else name="Name12">
        <dgm:choose name="Name13">
          <dgm:if name="Name14" axis="ch ch" ptType="node node" st="1 1" cnt="1 0" func="cnt" op="gt" val="0">
            <dgm:choose name="Name15">
              <dgm:if name="Name16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5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17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72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if>
          <dgm:else name="Name18">
            <dgm:choose name="Name19">
              <dgm:if name="Name20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6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21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else>
        </dgm:choose>
      </dgm:else>
    </dgm:choose>
    <dgm:ruleLst/>
    <dgm:choose name="Name22">
      <dgm:if name="Name23" axis="root ch" ptType="all node" st="1 1" cnt="0 0" func="cnt" op="gte" val="1">
        <dgm:layoutNode name="outerBox" styleLbl="node1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24">
            <dgm:if name="Name25" axis="root ch" ptType="all node" st="1 1" cnt="0 0" func="cnt" op="gt" val="1">
              <dgm:choose name="Name26">
                <dgm:if name="Name27" func="var" arg="dir" op="equ" val="norm">
                  <dgm:constrLst>
                    <dgm:constr type="l" for="ch" forName="outerBoxParent"/>
                    <dgm:constr type="t" for="ch" forName="outerBoxParent"/>
                    <dgm:constr type="w" for="ch" forName="outerBoxParent" refType="w"/>
                    <dgm:constr type="h" for="ch" forName="outerBoxParent" refType="h"/>
                    <dgm:constr type="bMarg" for="ch" forName="outerBoxParent" refType="h" fact="2.2"/>
                    <dgm:constr type="l" for="ch" forName="outerBoxChildren" refType="w" fact="0.025"/>
                    <dgm:constr type="t" for="ch" forName="outerBoxChildren" refType="h" fact="0.25"/>
                    <dgm:constr type="w" for="ch" forName="outerBoxChildren" refType="w" fact="0.15"/>
                    <dgm:constr type="h" for="ch" forName="outerBoxChildren" refType="h" fact="0.7"/>
                  </dgm:constrLst>
                </dgm:if>
                <dgm:else name="Name28">
                  <dgm:constrLst>
                    <dgm:constr type="l" for="ch" forName="outerBoxParent"/>
                    <dgm:constr type="t" for="ch" forName="outerBoxParent"/>
                    <dgm:constr type="w" for="ch" forName="outerBoxParent" refType="w"/>
                    <dgm:constr type="h" for="ch" forName="outerBoxParent" refType="h"/>
                    <dgm:constr type="bMarg" for="ch" forName="outerBoxParent" refType="h" fact="2.2"/>
                    <dgm:constr type="l" for="ch" forName="outerBoxChildren" refType="w" fact="0.825"/>
                    <dgm:constr type="t" for="ch" forName="outerBoxChildren" refType="h" fact="0.25"/>
                    <dgm:constr type="w" for="ch" forName="outerBoxChildren" refType="w" fact="0.15"/>
                    <dgm:constr type="h" for="ch" forName="outerBoxChildren" refType="h" fact="0.7"/>
                  </dgm:constrLst>
                </dgm:else>
              </dgm:choose>
            </dgm:if>
            <dgm:else name="Name29">
              <dgm:constrLst>
                <dgm:constr type="l" for="ch" forName="outerBoxParent"/>
                <dgm:constr type="t" for="ch" forName="outerBoxParent"/>
                <dgm:constr type="w" for="ch" forName="outerBoxParent" refType="w"/>
                <dgm:constr type="h" for="ch" forName="outerBoxParent" refType="h"/>
                <dgm:constr type="bMarg" for="ch" forName="outerBoxParent" refType="h" fact="1.75"/>
                <dgm:constr type="l" for="ch" forName="outerBoxChildren" refType="w" fact="0.025"/>
                <dgm:constr type="t" for="ch" forName="outerBoxChildren" refType="h" fact="0.45"/>
                <dgm:constr type="w" for="ch" forName="outerBoxChildren" refType="w" fact="0.95"/>
                <dgm:constr type="h" for="ch" forName="outerBoxChildren" refType="h" fact="0.45"/>
              </dgm:constrLst>
            </dgm:else>
          </dgm:choose>
          <dgm:ruleLst/>
          <dgm:layoutNode name="outer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085"/>
              </dgm:adjLst>
            </dgm:shape>
            <dgm:presOf axis="ch" ptType="node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layoutNode name="outerBoxChildren">
            <dgm:choose name="Name30">
              <dgm:if name="Name31" axis="root ch" ptType="all node" st="1 1" cnt="0 0" func="cnt" op="gt" val="1">
                <dgm:alg type="lin">
                  <dgm:param type="linDir" val="fromT"/>
                  <dgm:param type="vertAlign" val="t"/>
                </dgm:alg>
              </dgm:if>
              <dgm:else name="Name32">
                <dgm:choose name="Name33">
                  <dgm:if name="Name34" func="var" arg="dir" op="equ" val="norm">
                    <dgm:alg type="lin">
                      <dgm:param type="horzAlign" val="l"/>
                    </dgm:alg>
                  </dgm:if>
                  <dgm:else name="Name35">
                    <dgm:alg type="lin">
                      <dgm:param type="linDir" val="fromR"/>
                      <dgm:param type="horz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>
              <dgm:constr type="w" for="ch" forName="oChild" refType="w"/>
              <dgm:constr type="h" for="ch" forName="oChild" refType="h"/>
            </dgm:constrLst>
            <dgm:ruleLst/>
            <dgm:forEach name="Name36" axis="ch ch" ptType="node node" st="1 1" cnt="1 0">
              <dgm:layoutNode name="oChild" styleLbl="fgAcc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forEach name="Name37" axis="followSib" ptType="sibTrans" cnt="1">
                <dgm:layoutNode name="outerSibTrans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userA"/>
                    <dgm:constr type="w" refType="userA" fact="0.015"/>
                    <dgm:constr type="h" refType="userA" fact="0.015"/>
                  </dgm:constrLst>
                  <dgm:ruleLst/>
                </dgm:layoutNode>
              </dgm:forEach>
            </dgm:forEach>
          </dgm:layoutNode>
        </dgm:layoutNode>
      </dgm:if>
      <dgm:else name="Name38"/>
    </dgm:choose>
    <dgm:choose name="Name39">
      <dgm:if name="Name40" axis="root ch" ptType="all node" st="1 1" cnt="0 0" func="cnt" op="gte" val="2">
        <dgm:layoutNode name="middleBox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41">
            <dgm:if name="Name42" axis="root ch" ptType="all node" st="1 1" cnt="0 0" func="cnt" op="gt" val="2">
              <dgm:choose name="Name43">
                <dgm:if name="Name44" func="var" arg="dir" op="equ" val="norm">
                  <dgm:constrLst>
                    <dgm:constr type="l" for="ch" forName="middleBoxParent"/>
                    <dgm:constr type="t" for="ch" forName="middleBoxParent"/>
                    <dgm:constr type="w" for="ch" forName="middleBoxParent" refType="w"/>
                    <dgm:constr type="h" for="ch" forName="middleBoxParent" refType="h"/>
                    <dgm:constr type="bMarg" for="ch" forName="middleBoxParent" refType="h" fact="1.8"/>
                    <dgm:constr type="l" for="ch" forName="middleBoxChildren" refType="w" fact="0.025"/>
                    <dgm:constr type="t" for="ch" forName="middleBoxChildren" refType="h" fact="0.35"/>
                    <dgm:constr type="w" for="ch" forName="middleBoxChildren" refType="w" fact="0.2"/>
                    <dgm:constr type="h" for="ch" forName="middleBoxChildren" refType="h" fact="0.575"/>
                  </dgm:constrLst>
                </dgm:if>
                <dgm:else name="Name45">
                  <dgm:constrLst>
                    <dgm:constr type="l" for="ch" forName="middleBoxParent"/>
                    <dgm:constr type="t" for="ch" forName="middleBoxParent"/>
                    <dgm:constr type="w" for="ch" forName="middleBoxParent" refType="w"/>
                    <dgm:constr type="h" for="ch" forName="middleBoxParent" refType="h"/>
                    <dgm:constr type="bMarg" for="ch" forName="middleBoxParent" refType="h" fact="1.8"/>
                    <dgm:constr type="l" for="ch" forName="middleBoxChildren" refType="w" fact="0.775"/>
                    <dgm:constr type="t" for="ch" forName="middleBoxChildren" refType="h" fact="0.35"/>
                    <dgm:constr type="w" for="ch" forName="middleBoxChildren" refType="w" fact="0.2"/>
                    <dgm:constr type="h" for="ch" forName="middleBoxChildren" refType="h" fact="0.575"/>
                  </dgm:constrLst>
                </dgm:else>
              </dgm:choose>
            </dgm:if>
            <dgm:else name="Name46">
              <dgm:constrLst>
                <dgm:constr type="l" for="ch" forName="middleBoxParent"/>
                <dgm:constr type="t" for="ch" forName="middleBoxParent"/>
                <dgm:constr type="w" for="ch" forName="middleBoxParent" refType="w"/>
                <dgm:constr type="h" for="ch" forName="middleBoxParent" refType="h"/>
                <dgm:constr type="bMarg" for="ch" forName="middleBoxParent" refType="h" fact="1.8"/>
                <dgm:constr type="l" for="ch" forName="middleBoxChildren" refType="w" fact="0.025"/>
                <dgm:constr type="t" for="ch" forName="middleBoxChildren" refType="h" fact="0.45"/>
                <dgm:constr type="w" for="ch" forName="middleBoxChildren" refType="w" fact="0.95"/>
                <dgm:constr type="h" for="ch" forName="middleBoxChildren" refType="h" fact="0.45"/>
              </dgm:constrLst>
            </dgm:else>
          </dgm:choose>
          <dgm:ruleLst/>
          <dgm:layoutNode name="middle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105"/>
              </dgm:adjLst>
            </dgm:shape>
            <dgm:presOf axis="ch" ptType="node" st="2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layoutNode name="middleBoxChildren">
            <dgm:choose name="Name47">
              <dgm:if name="Name48" axis="root ch" ptType="all node" st="1 1" cnt="0 0" func="cnt" op="gt" val="2">
                <dgm:alg type="lin">
                  <dgm:param type="linDir" val="fromT"/>
                  <dgm:param type="vertAlign" val="t"/>
                </dgm:alg>
              </dgm:if>
              <dgm:else name="Name49">
                <dgm:choose name="Name50">
                  <dgm:if name="Name51" func="var" arg="dir" op="equ" val="norm">
                    <dgm:alg type="lin">
                      <dgm:param type="horzAlign" val="l"/>
                    </dgm:alg>
                  </dgm:if>
                  <dgm:else name="Name52">
                    <dgm:alg type="lin">
                      <dgm:param type="linDir" val="fromR"/>
                      <dgm:param type="horz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>
              <dgm:constr type="w" for="ch" forName="mChild" refType="w"/>
              <dgm:constr type="h" for="ch" forName="mChild" refType="h"/>
            </dgm:constrLst>
            <dgm:ruleLst/>
            <dgm:forEach name="Name53" axis="ch ch" ptType="node node" st="2 1" cnt="1 0">
              <dgm:layoutNode name="mChild" styleLbl="fgAcc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forEach name="Name54" axis="followSib" ptType="sibTrans" cnt="1">
                <dgm:layoutNode name="middleSibTrans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userA"/>
                    <dgm:constr type="w" refType="userA" fact="0.015"/>
                    <dgm:constr type="h" refType="userA" fact="0.015"/>
                  </dgm:constrLst>
                  <dgm:ruleLst/>
                </dgm:layoutNode>
              </dgm:forEach>
            </dgm:forEach>
          </dgm:layoutNode>
        </dgm:layoutNode>
      </dgm:if>
      <dgm:else name="Name55"/>
    </dgm:choose>
    <dgm:choose name="Name56">
      <dgm:if name="Name57" axis="root ch" ptType="all node" st="1 1" cnt="0 0" func="cnt" op="gte" val="3">
        <dgm:layoutNode name="centerBox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58">
            <dgm:if name="Name59" axis="ch ch" ptType="node node" st="3 1" cnt="1 0" func="cnt" op="gt" val="0">
              <dgm:constrLst>
                <dgm:constr type="l" for="ch" forName="centerBoxParent"/>
                <dgm:constr type="t" for="ch" forName="centerBoxParent"/>
                <dgm:constr type="w" for="ch" forName="centerBoxParent" refType="w"/>
                <dgm:constr type="h" for="ch" forName="centerBoxParent" refType="h"/>
                <dgm:constr type="bMarg" for="ch" forName="centerBoxParent" refType="h" fact="1.6"/>
                <dgm:constr type="l" for="ch" forName="centerBoxChildren" refType="w" fact="0.025"/>
                <dgm:constr type="t" for="ch" forName="centerBoxChildren" refType="h" fact="0.45"/>
                <dgm:constr type="w" for="ch" forName="centerBoxChildren" refType="w" fact="0.95"/>
                <dgm:constr type="h" for="ch" forName="centerBoxChildren" refType="h" fact="0.45"/>
              </dgm:constrLst>
            </dgm:if>
            <dgm:else name="Name60">
              <dgm:constrLst>
                <dgm:constr type="l" for="ch" forName="centerBoxParent"/>
                <dgm:constr type="t" for="ch" forName="centerBoxParent"/>
                <dgm:constr type="w" for="ch" forName="centerBoxParent" refType="w"/>
                <dgm:constr type="h" for="ch" forName="centerBoxParent" refType="h"/>
              </dgm:constrLst>
            </dgm:else>
          </dgm:choose>
          <dgm:ruleLst/>
          <dgm:layoutNode name="center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105"/>
              </dgm:adjLst>
            </dgm:shape>
            <dgm:presOf axis="ch" ptType="node" st="3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choose name="Name61">
            <dgm:if name="Name62" axis="ch ch" ptType="node node" st="3 1" cnt="1 0" func="cnt" op="gt" val="0">
              <dgm:layoutNode name="centerBoxChildren">
                <dgm:choose name="Name63">
                  <dgm:if name="Name64" func="var" arg="dir" op="equ" val="norm">
                    <dgm:alg type="lin">
                      <dgm:param type="horzAlign" val="l"/>
                    </dgm:alg>
                  </dgm:if>
                  <dgm:else name="Name65">
                    <dgm:alg type="lin">
                      <dgm:param type="linDir" val="fromR"/>
                      <dgm:param type="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cChild" refType="w"/>
                  <dgm:constr type="h" for="ch" forName="cChild" refType="h"/>
                </dgm:constrLst>
                <dgm:ruleLst/>
                <dgm:forEach name="Name66" axis="ch ch" ptType="node node" st="3 1" cnt="1 0">
                  <dgm:layoutNode name="cChild" styleLbl="fgAcc1">
                    <dgm:varLst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05"/>
                      </dgm:adjLst>
                    </dgm:shape>
                    <dgm:presOf axis="desOrSelf" ptType="node"/>
                    <dgm:constrLst>
                      <dgm:constr type="tMarg" refType="primFontSz" fact="0.3"/>
                      <dgm:constr type="bMarg" refType="primFontSz" fact="0.3"/>
                      <dgm:constr type="lMarg" refType="primFontSz" fact="0.3"/>
                      <dgm:constr type="rMarg" refType="primFontSz" fact="0.3"/>
                    </dgm:constrLst>
                    <dgm:ruleLst>
                      <dgm:rule type="primFontSz" val="5" fact="NaN" max="NaN"/>
                    </dgm:ruleLst>
                  </dgm:layoutNode>
                  <dgm:forEach name="Name67" axis="followSib" ptType="sibTrans" cnt="1">
                    <dgm:layoutNode name="centerSibTrans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  <dgm:constrLst>
                        <dgm:constr type="userA"/>
                        <dgm:constr type="w" refType="userA" fact="0.015"/>
                        <dgm:constr type="h" refType="userA" fact="0.015"/>
                      </dgm:constrLst>
                      <dgm:ruleLst/>
                    </dgm:layoutNode>
                  </dgm:forEach>
                </dgm:forEach>
              </dgm:layoutNode>
            </dgm:if>
            <dgm:else name="Name68"/>
          </dgm:choose>
        </dgm:layoutNode>
      </dgm:if>
      <dgm:else name="Name69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53CC81-500C-4EE8-8F75-B7EC41D820F2}" type="datetimeFigureOut">
              <a:rPr lang="es-CL" smtClean="0"/>
              <a:t>07-02-2019</a:t>
            </a:fld>
            <a:endParaRPr lang="es-C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C8BF83-427B-4C5B-9A7C-2ECFDFFA50D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642357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126C5-B6DA-47A8-9F07-06A98394C408}" type="datetimeFigureOut">
              <a:rPr lang="es-CL" smtClean="0"/>
              <a:t>07-02-2019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BEDECD-9409-4312-A651-97BA881AA52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388325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A81DFA-E783-40CB-8634-884E55B23E3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8694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6BE9BA05-0B29-4EDC-AC41-3BEB59306B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6BE9BA05-0B29-4EDC-AC41-3BEB59306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56713" y="22406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:a16="http://schemas.microsoft.com/office/drawing/2014/main" xmlns="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605274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/>
              <a:t>Gobierno de Chile | Ministerio de Salud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F83480-26E7-4C57-9C11-2220D7006399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8853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4189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file:///\\localhost\Users\CDEB\Pictures\3.png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file:///\\localhost\Users\CDEB\Pictures\1.png" TargetMode="External"/><Relationship Id="rId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CL" noProof="0" dirty="0" err="1"/>
              <a:t>Click</a:t>
            </a:r>
            <a:r>
              <a:rPr lang="es-CL" noProof="0" dirty="0"/>
              <a:t> to </a:t>
            </a:r>
            <a:r>
              <a:rPr lang="es-CL" noProof="0" dirty="0" err="1"/>
              <a:t>edit</a:t>
            </a:r>
            <a:r>
              <a:rPr lang="es-CL" noProof="0" dirty="0"/>
              <a:t> Master </a:t>
            </a:r>
            <a:r>
              <a:rPr lang="es-CL" noProof="0" dirty="0" err="1"/>
              <a:t>text</a:t>
            </a:r>
            <a:r>
              <a:rPr lang="es-CL" noProof="0" dirty="0"/>
              <a:t> </a:t>
            </a:r>
            <a:r>
              <a:rPr lang="es-CL" noProof="0" dirty="0" err="1"/>
              <a:t>styles</a:t>
            </a:r>
            <a:endParaRPr lang="es-CL" noProof="0" dirty="0"/>
          </a:p>
          <a:p>
            <a:pPr lvl="1"/>
            <a:r>
              <a:rPr lang="es-CL" noProof="0" dirty="0" err="1"/>
              <a:t>Second</a:t>
            </a:r>
            <a:r>
              <a:rPr lang="es-CL" noProof="0" dirty="0"/>
              <a:t> </a:t>
            </a:r>
            <a:r>
              <a:rPr lang="es-CL" noProof="0" dirty="0" err="1"/>
              <a:t>level</a:t>
            </a:r>
            <a:endParaRPr lang="es-CL" noProof="0" dirty="0"/>
          </a:p>
          <a:p>
            <a:pPr lvl="2"/>
            <a:r>
              <a:rPr lang="es-CL" noProof="0" dirty="0" err="1"/>
              <a:t>Third</a:t>
            </a:r>
            <a:r>
              <a:rPr lang="es-CL" noProof="0" dirty="0"/>
              <a:t> </a:t>
            </a:r>
            <a:r>
              <a:rPr lang="es-CL" noProof="0" dirty="0" err="1"/>
              <a:t>level</a:t>
            </a:r>
            <a:endParaRPr lang="es-CL" noProof="0" dirty="0"/>
          </a:p>
          <a:p>
            <a:pPr lvl="3"/>
            <a:r>
              <a:rPr lang="es-CL" noProof="0" dirty="0" err="1"/>
              <a:t>Fourth</a:t>
            </a:r>
            <a:r>
              <a:rPr lang="es-CL" noProof="0" dirty="0"/>
              <a:t> </a:t>
            </a:r>
            <a:r>
              <a:rPr lang="es-CL" noProof="0" dirty="0" err="1"/>
              <a:t>level</a:t>
            </a:r>
            <a:endParaRPr lang="es-CL" noProof="0" dirty="0"/>
          </a:p>
          <a:p>
            <a:pPr lvl="4"/>
            <a:r>
              <a:rPr lang="es-CL" noProof="0" dirty="0" err="1"/>
              <a:t>Fifth</a:t>
            </a:r>
            <a:r>
              <a:rPr lang="es-CL" noProof="0" dirty="0"/>
              <a:t> </a:t>
            </a:r>
            <a:r>
              <a:rPr lang="es-CL" noProof="0" dirty="0" err="1"/>
              <a:t>level</a:t>
            </a:r>
            <a:endParaRPr lang="es-CL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45248" y="22334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CL" noProof="0" dirty="0" err="1"/>
              <a:t>Click</a:t>
            </a:r>
            <a:r>
              <a:rPr lang="es-CL" noProof="0" dirty="0"/>
              <a:t> to </a:t>
            </a:r>
            <a:r>
              <a:rPr lang="es-CL" noProof="0" dirty="0" err="1"/>
              <a:t>edit</a:t>
            </a:r>
            <a:r>
              <a:rPr lang="es-CL" noProof="0" dirty="0"/>
              <a:t> Master </a:t>
            </a:r>
            <a:r>
              <a:rPr lang="es-CL" noProof="0" dirty="0" err="1"/>
              <a:t>title</a:t>
            </a:r>
            <a:r>
              <a:rPr lang="es-CL" noProof="0" dirty="0"/>
              <a:t> </a:t>
            </a:r>
            <a:r>
              <a:rPr lang="es-CL" noProof="0" dirty="0" err="1"/>
              <a:t>style</a:t>
            </a:r>
            <a:endParaRPr lang="es-CL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CL" sz="1400">
                <a:solidFill>
                  <a:srgbClr val="808080"/>
                </a:solidFill>
              </a:rPr>
              <a:t>TRACKER</a:t>
            </a:r>
            <a:endParaRPr lang="es-CL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8794113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>
                <a:solidFill>
                  <a:srgbClr val="808080"/>
                </a:solidFill>
                <a:latin typeface="Arial"/>
              </a:rPr>
              <a:t>Unit of measure</a:t>
            </a:r>
            <a:endParaRPr lang="es-CL" sz="14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90" y="6503346"/>
            <a:ext cx="7692622" cy="288318"/>
            <a:chOff x="75" y="4015"/>
            <a:chExt cx="4749" cy="17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4015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CL" sz="900">
                  <a:solidFill>
                    <a:srgbClr val="33448D"/>
                  </a:solidFill>
                  <a:latin typeface="Arial"/>
                </a:rPr>
                <a:t>1 Footnote</a:t>
              </a:r>
              <a:endParaRPr lang="es-CL" sz="900" dirty="0">
                <a:solidFill>
                  <a:srgbClr val="33448D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06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CL" sz="900">
                  <a:solidFill>
                    <a:srgbClr val="33448D"/>
                  </a:solidFill>
                </a:rPr>
                <a:t>SOURCE: Source</a:t>
              </a:r>
              <a:endParaRPr lang="es-CL" sz="900" dirty="0">
                <a:solidFill>
                  <a:srgbClr val="33448D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 b="1">
                  <a:solidFill>
                    <a:srgbClr val="33448D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>
                  <a:solidFill>
                    <a:srgbClr val="808080"/>
                  </a:solidFill>
                </a:rPr>
                <a:t>Unit of measure</a:t>
              </a:r>
              <a:endParaRPr lang="es-C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AutoShape 35"/>
          <p:cNvSpPr>
            <a:spLocks noChangeArrowheads="1"/>
          </p:cNvSpPr>
          <p:nvPr/>
        </p:nvSpPr>
        <p:spPr bwMode="gray">
          <a:xfrm>
            <a:off x="1" y="831519"/>
            <a:ext cx="7614176" cy="45719"/>
          </a:xfrm>
          <a:prstGeom prst="roundRect">
            <a:avLst>
              <a:gd name="adj" fmla="val 11644"/>
            </a:avLst>
          </a:prstGeom>
          <a:solidFill>
            <a:srgbClr val="0067B4"/>
          </a:solidFill>
          <a:ln>
            <a:solidFill>
              <a:srgbClr val="0067B4"/>
            </a:solidFill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ctangle 551"/>
          <p:cNvSpPr>
            <a:spLocks noChangeArrowheads="1"/>
          </p:cNvSpPr>
          <p:nvPr/>
        </p:nvSpPr>
        <p:spPr bwMode="auto">
          <a:xfrm>
            <a:off x="-1" y="6644265"/>
            <a:ext cx="9164899" cy="213736"/>
          </a:xfrm>
          <a:prstGeom prst="rect">
            <a:avLst/>
          </a:prstGeom>
          <a:solidFill>
            <a:srgbClr val="0067B4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600" dirty="0">
              <a:solidFill>
                <a:srgbClr val="33448D"/>
              </a:solidFill>
            </a:endParaRPr>
          </a:p>
        </p:txBody>
      </p:sp>
      <p:sp>
        <p:nvSpPr>
          <p:cNvPr id="23" name="19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8D6E1703-9EAA-4B88-9B3C-2395CA1E410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621" y="-15570"/>
            <a:ext cx="959380" cy="86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876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4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0067B4"/>
          </a:solidFill>
          <a:latin typeface="Calibri" panose="020F0502020204030204" pitchFamily="34" charset="0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C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xmlns="" id="{8F91D8EE-5A2D-41F4-8A78-6F1488BD9FC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3401" y="3333750"/>
            <a:ext cx="1033463" cy="352425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C513FA5B-2768-4084-B936-441E2F2269C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6864" y="3333750"/>
            <a:ext cx="1481137" cy="352425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28" name="Picture 1">
            <a:extLst>
              <a:ext uri="{FF2B5EF4-FFF2-40B4-BE49-F238E27FC236}">
                <a16:creationId xmlns:a16="http://schemas.microsoft.com/office/drawing/2014/main" xmlns="" id="{6CCE0E19-B09D-462B-ADFE-C0E5B65C25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1" y="3452815"/>
            <a:ext cx="80327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49F52C9C-D0A2-48FF-B7A4-D3B1DAA294F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3401" y="0"/>
            <a:ext cx="1033463" cy="13716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F3781D71-AC81-4E40-90B9-C994E35E6B1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6864" y="0"/>
            <a:ext cx="1481137" cy="13716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31" name="1.png" descr="/Users/CDEB/Pictures/1.png">
            <a:extLst>
              <a:ext uri="{FF2B5EF4-FFF2-40B4-BE49-F238E27FC236}">
                <a16:creationId xmlns:a16="http://schemas.microsoft.com/office/drawing/2014/main" xmlns="" id="{33DC4EEB-2BED-4E79-823B-1326D13B4D1F}"/>
              </a:ext>
            </a:extLst>
          </p:cNvPr>
          <p:cNvPicPr>
            <a:picLocks noChangeAspect="1"/>
          </p:cNvPicPr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3430590"/>
            <a:ext cx="13843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3.png" descr="/Users/CDEB/Pictures/3.png">
            <a:extLst>
              <a:ext uri="{FF2B5EF4-FFF2-40B4-BE49-F238E27FC236}">
                <a16:creationId xmlns:a16="http://schemas.microsoft.com/office/drawing/2014/main" xmlns="" id="{D1395D68-2C6D-41B4-AB39-ACFB6011738F}"/>
              </a:ext>
            </a:extLst>
          </p:cNvPr>
          <p:cNvPicPr>
            <a:picLocks noChangeAspect="1"/>
          </p:cNvPicPr>
          <p:nvPr userDrawn="1"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6400800"/>
            <a:ext cx="2071687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000724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28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28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diagramLayout" Target="../diagrams/layout5.xml"/><Relationship Id="rId7" Type="http://schemas.openxmlformats.org/officeDocument/2006/relationships/image" Target="../media/image29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xmlns="" id="{708AED80-CD44-4B7D-9360-C1519D3DB299}"/>
              </a:ext>
            </a:extLst>
          </p:cNvPr>
          <p:cNvSpPr txBox="1">
            <a:spLocks/>
          </p:cNvSpPr>
          <p:nvPr/>
        </p:nvSpPr>
        <p:spPr bwMode="auto">
          <a:xfrm>
            <a:off x="187441" y="1849297"/>
            <a:ext cx="9493888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9pPr>
          </a:lstStyle>
          <a:p>
            <a:pPr defTabSz="4572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CL" altLang="en-US" sz="4000" b="1" dirty="0">
                <a:solidFill>
                  <a:srgbClr val="FFFFFF"/>
                </a:solidFill>
                <a:latin typeface="Verdana" panose="020B0604030504040204" pitchFamily="34" charset="0"/>
                <a:sym typeface="Verdana Bold" charset="0"/>
              </a:rPr>
              <a:t>ESTRATEGIA DIGITAL </a:t>
            </a:r>
            <a:r>
              <a:rPr lang="es-CL" altLang="en-US" sz="4000" b="1" dirty="0" smtClean="0">
                <a:solidFill>
                  <a:srgbClr val="FFFFFF"/>
                </a:solidFill>
                <a:latin typeface="Verdana" panose="020B0604030504040204" pitchFamily="34" charset="0"/>
                <a:sym typeface="Verdana Bold" charset="0"/>
              </a:rPr>
              <a:t>MINSAL</a:t>
            </a:r>
            <a:endParaRPr lang="es-CL" altLang="en-US" sz="5400" b="1" dirty="0">
              <a:solidFill>
                <a:srgbClr val="FFFFFF"/>
              </a:solidFill>
              <a:latin typeface="Verdana" panose="020B0604030504040204" pitchFamily="34" charset="0"/>
              <a:sym typeface="Verdana Bold" charset="0"/>
            </a:endParaRPr>
          </a:p>
        </p:txBody>
      </p:sp>
      <p:sp>
        <p:nvSpPr>
          <p:cNvPr id="17411" name="Subtitle 2">
            <a:extLst>
              <a:ext uri="{FF2B5EF4-FFF2-40B4-BE49-F238E27FC236}">
                <a16:creationId xmlns:a16="http://schemas.microsoft.com/office/drawing/2014/main" xmlns="" id="{88F835D9-4277-48A6-8708-E05534943F63}"/>
              </a:ext>
            </a:extLst>
          </p:cNvPr>
          <p:cNvSpPr txBox="1">
            <a:spLocks/>
          </p:cNvSpPr>
          <p:nvPr/>
        </p:nvSpPr>
        <p:spPr bwMode="auto">
          <a:xfrm>
            <a:off x="3130039" y="6012314"/>
            <a:ext cx="3374456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9pPr>
          </a:lstStyle>
          <a:p>
            <a:pPr defTabSz="457200" eaLnBrk="1" fontAlgn="base" hangingPunct="1">
              <a:spcBef>
                <a:spcPct val="20000"/>
              </a:spcBef>
              <a:spcAft>
                <a:spcPct val="0"/>
              </a:spcAft>
              <a:defRPr/>
            </a:pPr>
            <a:r>
              <a:rPr lang="es-CL" altLang="en-US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epartamento TIC- MINSAL</a:t>
            </a:r>
          </a:p>
          <a:p>
            <a:pPr defTabSz="457200" eaLnBrk="1" fontAlgn="base" hangingPunct="1">
              <a:spcBef>
                <a:spcPct val="20000"/>
              </a:spcBef>
              <a:spcAft>
                <a:spcPct val="0"/>
              </a:spcAft>
              <a:defRPr/>
            </a:pPr>
            <a:r>
              <a:rPr lang="es-CL" altLang="en-US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ubsecretaría de Salud Pública </a:t>
            </a:r>
          </a:p>
          <a:p>
            <a:pPr defTabSz="457200" eaLnBrk="1" fontAlgn="base" hangingPunct="1">
              <a:spcBef>
                <a:spcPct val="20000"/>
              </a:spcBef>
              <a:spcAft>
                <a:spcPct val="0"/>
              </a:spcAft>
              <a:defRPr/>
            </a:pPr>
            <a:endParaRPr lang="es-CL" altLang="en-US" sz="14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2531267" y="2785922"/>
            <a:ext cx="4572000" cy="1077218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/>
            <a:r>
              <a:rPr lang="es-CL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LUD PÚBLICA</a:t>
            </a:r>
          </a:p>
          <a:p>
            <a:pPr lvl="0" algn="ctr"/>
            <a:r>
              <a:rPr lang="es-CL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DAS</a:t>
            </a:r>
            <a:endParaRPr lang="es-ES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51414010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AA122F40-49FA-4842-82E6-6EB9F25A2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713" y="224062"/>
            <a:ext cx="7267862" cy="298327"/>
          </a:xfrm>
        </p:spPr>
        <p:txBody>
          <a:bodyPr/>
          <a:lstStyle/>
          <a:p>
            <a:r>
              <a:rPr lang="es-CL" dirty="0" smtClean="0"/>
              <a:t>PROYECTOS DE GLORIA ALFARO PIZARRO</a:t>
            </a:r>
            <a:endParaRPr lang="es-CL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8D6235B3-AA68-4337-87DC-ACCA35C112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10</a:t>
            </a:fld>
            <a:endParaRPr lang="es-CL" dirty="0"/>
          </a:p>
        </p:txBody>
      </p:sp>
      <p:graphicFrame>
        <p:nvGraphicFramePr>
          <p:cNvPr id="4" name="Diagrama 3">
            <a:extLst>
              <a:ext uri="{FF2B5EF4-FFF2-40B4-BE49-F238E27FC236}">
                <a16:creationId xmlns:a16="http://schemas.microsoft.com/office/drawing/2014/main" xmlns="" id="{1D9099F5-0984-43A2-BE78-89EF45866F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4634704"/>
              </p:ext>
            </p:extLst>
          </p:nvPr>
        </p:nvGraphicFramePr>
        <p:xfrm>
          <a:off x="1" y="901522"/>
          <a:ext cx="9144000" cy="55920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Imagen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54236" y="5118582"/>
            <a:ext cx="1089139" cy="4524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19723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s-ES" dirty="0"/>
              <a:t>Gobierno de Chile | Ministerio de Salud</a:t>
            </a:r>
            <a:endParaRPr lang="en-US" dirty="0"/>
          </a:p>
        </p:txBody>
      </p:sp>
      <p:sp>
        <p:nvSpPr>
          <p:cNvPr id="5" name="Marcador de texto 4"/>
          <p:cNvSpPr txBox="1">
            <a:spLocks/>
          </p:cNvSpPr>
          <p:nvPr/>
        </p:nvSpPr>
        <p:spPr bwMode="auto">
          <a:xfrm>
            <a:off x="539552" y="332656"/>
            <a:ext cx="7496565" cy="669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rgbClr val="595959"/>
                </a:solidFill>
                <a:latin typeface="+mn-lt"/>
                <a:ea typeface="+mn-ea"/>
                <a:cs typeface="ヒラギノ角ゴ Pro W3"/>
              </a:defRPr>
            </a:lvl1pPr>
            <a:lvl2pPr marL="45720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800">
                <a:solidFill>
                  <a:srgbClr val="595959"/>
                </a:solidFill>
                <a:latin typeface="+mn-lt"/>
                <a:ea typeface="+mn-ea"/>
                <a:cs typeface="ヒラギノ角ゴ Pro W3"/>
              </a:defRPr>
            </a:lvl2pPr>
            <a:lvl3pPr marL="91440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600">
                <a:solidFill>
                  <a:srgbClr val="595959"/>
                </a:solidFill>
                <a:latin typeface="+mn-lt"/>
                <a:ea typeface="+mn-ea"/>
                <a:cs typeface="ヒラギノ角ゴ Pro W3"/>
              </a:defRPr>
            </a:lvl3pPr>
            <a:lvl4pPr marL="137160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400">
                <a:solidFill>
                  <a:srgbClr val="595959"/>
                </a:solidFill>
                <a:latin typeface="+mn-lt"/>
                <a:ea typeface="+mn-ea"/>
                <a:cs typeface="ヒラギノ角ゴ Pro W3"/>
              </a:defRPr>
            </a:lvl4pPr>
            <a:lvl5pPr marL="182880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400">
                <a:solidFill>
                  <a:srgbClr val="595959"/>
                </a:solidFill>
                <a:latin typeface="+mn-lt"/>
                <a:ea typeface="+mn-ea"/>
                <a:cs typeface="ヒラギノ角ゴ Pro W3"/>
              </a:defRPr>
            </a:lvl5pPr>
            <a:lvl6pPr marL="228600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>
                <a:solidFill>
                  <a:srgbClr val="595959"/>
                </a:solidFill>
                <a:latin typeface="+mn-lt"/>
                <a:ea typeface="+mn-ea"/>
              </a:defRPr>
            </a:lvl6pPr>
            <a:lvl7pPr marL="274320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>
                <a:solidFill>
                  <a:srgbClr val="595959"/>
                </a:solidFill>
                <a:latin typeface="+mn-lt"/>
                <a:ea typeface="+mn-ea"/>
              </a:defRPr>
            </a:lvl7pPr>
            <a:lvl8pPr marL="320040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>
                <a:solidFill>
                  <a:srgbClr val="595959"/>
                </a:solidFill>
                <a:latin typeface="+mn-lt"/>
                <a:ea typeface="+mn-ea"/>
              </a:defRPr>
            </a:lvl8pPr>
            <a:lvl9pPr marL="365760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>
                <a:solidFill>
                  <a:srgbClr val="595959"/>
                </a:solidFill>
                <a:latin typeface="+mn-lt"/>
                <a:ea typeface="+mn-ea"/>
              </a:defRPr>
            </a:lvl9pPr>
          </a:lstStyle>
          <a:p>
            <a:endParaRPr lang="es-CL" sz="3600" b="1" kern="0" dirty="0">
              <a:solidFill>
                <a:srgbClr val="0033C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lnSpc>
                <a:spcPct val="100000"/>
              </a:lnSpc>
              <a:buClrTx/>
              <a:buSzTx/>
            </a:pPr>
            <a:endParaRPr lang="es-ES" sz="2800" b="1" kern="0" dirty="0">
              <a:solidFill>
                <a:srgbClr val="0033C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" name="Conector recto 2"/>
          <p:cNvCxnSpPr/>
          <p:nvPr/>
        </p:nvCxnSpPr>
        <p:spPr>
          <a:xfrm>
            <a:off x="1855222" y="1731104"/>
            <a:ext cx="0" cy="216024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55" name="Imagen 5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574" y="353843"/>
            <a:ext cx="2477686" cy="1144485"/>
          </a:xfrm>
          <a:prstGeom prst="rect">
            <a:avLst/>
          </a:prstGeom>
        </p:spPr>
      </p:pic>
      <p:sp>
        <p:nvSpPr>
          <p:cNvPr id="56" name="Rectángulo 55"/>
          <p:cNvSpPr/>
          <p:nvPr/>
        </p:nvSpPr>
        <p:spPr>
          <a:xfrm>
            <a:off x="395536" y="2268405"/>
            <a:ext cx="1933357" cy="575732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4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ercio Exterior</a:t>
            </a:r>
          </a:p>
        </p:txBody>
      </p:sp>
      <p:cxnSp>
        <p:nvCxnSpPr>
          <p:cNvPr id="61" name="Conector recto 60"/>
          <p:cNvCxnSpPr/>
          <p:nvPr/>
        </p:nvCxnSpPr>
        <p:spPr>
          <a:xfrm flipH="1">
            <a:off x="451195" y="2844137"/>
            <a:ext cx="1" cy="2287871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62" name="Conector recto de flecha 61"/>
          <p:cNvCxnSpPr/>
          <p:nvPr/>
        </p:nvCxnSpPr>
        <p:spPr>
          <a:xfrm flipV="1">
            <a:off x="451196" y="3264419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63" name="Conector recto de flecha 62"/>
          <p:cNvCxnSpPr/>
          <p:nvPr/>
        </p:nvCxnSpPr>
        <p:spPr>
          <a:xfrm flipV="1">
            <a:off x="466739" y="3696467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64" name="Conector recto de flecha 63"/>
          <p:cNvCxnSpPr/>
          <p:nvPr/>
        </p:nvCxnSpPr>
        <p:spPr>
          <a:xfrm flipV="1">
            <a:off x="451195" y="5107470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Rectángulo redondeado 1"/>
          <p:cNvSpPr/>
          <p:nvPr/>
        </p:nvSpPr>
        <p:spPr>
          <a:xfrm>
            <a:off x="646475" y="3074748"/>
            <a:ext cx="1682418" cy="3586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s-CL" sz="1400" dirty="0">
                <a:solidFill>
                  <a:schemeClr val="tx2">
                    <a:lumMod val="50000"/>
                  </a:schemeClr>
                </a:solidFill>
              </a:rPr>
              <a:t>CDA Alimentos</a:t>
            </a:r>
          </a:p>
        </p:txBody>
      </p:sp>
      <p:sp>
        <p:nvSpPr>
          <p:cNvPr id="65" name="Rectángulo redondeado 64"/>
          <p:cNvSpPr/>
          <p:nvPr/>
        </p:nvSpPr>
        <p:spPr>
          <a:xfrm>
            <a:off x="646475" y="3532265"/>
            <a:ext cx="1682418" cy="3586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s-CL" sz="1400" dirty="0" err="1">
                <a:solidFill>
                  <a:schemeClr val="tx2">
                    <a:lumMod val="50000"/>
                  </a:schemeClr>
                </a:solidFill>
              </a:rPr>
              <a:t>UyD</a:t>
            </a:r>
            <a:r>
              <a:rPr lang="es-CL" sz="1400" dirty="0">
                <a:solidFill>
                  <a:schemeClr val="tx2">
                    <a:lumMod val="50000"/>
                  </a:schemeClr>
                </a:solidFill>
              </a:rPr>
              <a:t> Alimentos</a:t>
            </a:r>
          </a:p>
        </p:txBody>
      </p:sp>
      <p:sp>
        <p:nvSpPr>
          <p:cNvPr id="66" name="Rectángulo redondeado 65"/>
          <p:cNvSpPr/>
          <p:nvPr/>
        </p:nvSpPr>
        <p:spPr>
          <a:xfrm>
            <a:off x="646475" y="3991264"/>
            <a:ext cx="1682418" cy="3586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s-CL" sz="1400" dirty="0">
                <a:solidFill>
                  <a:schemeClr val="tx2">
                    <a:lumMod val="50000"/>
                  </a:schemeClr>
                </a:solidFill>
              </a:rPr>
              <a:t>CDA Químicos</a:t>
            </a:r>
          </a:p>
        </p:txBody>
      </p:sp>
      <p:sp>
        <p:nvSpPr>
          <p:cNvPr id="67" name="Rectángulo redondeado 66"/>
          <p:cNvSpPr/>
          <p:nvPr/>
        </p:nvSpPr>
        <p:spPr>
          <a:xfrm>
            <a:off x="646475" y="4448781"/>
            <a:ext cx="1682418" cy="3586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s-CL" sz="1400" dirty="0" err="1">
                <a:solidFill>
                  <a:schemeClr val="tx2">
                    <a:lumMod val="50000"/>
                  </a:schemeClr>
                </a:solidFill>
              </a:rPr>
              <a:t>UyD</a:t>
            </a:r>
            <a:r>
              <a:rPr lang="es-CL" sz="1400" dirty="0">
                <a:solidFill>
                  <a:schemeClr val="tx2">
                    <a:lumMod val="50000"/>
                  </a:schemeClr>
                </a:solidFill>
              </a:rPr>
              <a:t> Químicos</a:t>
            </a:r>
          </a:p>
        </p:txBody>
      </p:sp>
      <p:sp>
        <p:nvSpPr>
          <p:cNvPr id="68" name="Rectángulo redondeado 67"/>
          <p:cNvSpPr/>
          <p:nvPr/>
        </p:nvSpPr>
        <p:spPr>
          <a:xfrm>
            <a:off x="646475" y="4913535"/>
            <a:ext cx="1682418" cy="3586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s-CL" sz="1400" dirty="0">
                <a:solidFill>
                  <a:schemeClr val="tx2">
                    <a:lumMod val="50000"/>
                  </a:schemeClr>
                </a:solidFill>
              </a:rPr>
              <a:t>CLV</a:t>
            </a:r>
          </a:p>
        </p:txBody>
      </p:sp>
      <p:cxnSp>
        <p:nvCxnSpPr>
          <p:cNvPr id="69" name="Conector recto de flecha 68"/>
          <p:cNvCxnSpPr/>
          <p:nvPr/>
        </p:nvCxnSpPr>
        <p:spPr>
          <a:xfrm flipV="1">
            <a:off x="451196" y="4179437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0" name="Conector recto de flecha 69"/>
          <p:cNvCxnSpPr/>
          <p:nvPr/>
        </p:nvCxnSpPr>
        <p:spPr>
          <a:xfrm flipV="1">
            <a:off x="466739" y="4611485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1" name="Rectángulo 70"/>
          <p:cNvSpPr/>
          <p:nvPr/>
        </p:nvSpPr>
        <p:spPr>
          <a:xfrm>
            <a:off x="2483768" y="2259548"/>
            <a:ext cx="1933357" cy="575732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4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tros</a:t>
            </a:r>
          </a:p>
        </p:txBody>
      </p:sp>
      <p:cxnSp>
        <p:nvCxnSpPr>
          <p:cNvPr id="72" name="Conector recto 71"/>
          <p:cNvCxnSpPr/>
          <p:nvPr/>
        </p:nvCxnSpPr>
        <p:spPr>
          <a:xfrm>
            <a:off x="2539429" y="2844137"/>
            <a:ext cx="11097" cy="3159042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3" name="Conector recto de flecha 72"/>
          <p:cNvCxnSpPr/>
          <p:nvPr/>
        </p:nvCxnSpPr>
        <p:spPr>
          <a:xfrm flipV="1">
            <a:off x="2539428" y="3098651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4" name="Conector recto de flecha 73"/>
          <p:cNvCxnSpPr/>
          <p:nvPr/>
        </p:nvCxnSpPr>
        <p:spPr>
          <a:xfrm flipV="1">
            <a:off x="2554971" y="3503870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5" name="Conector recto de flecha 74"/>
          <p:cNvCxnSpPr/>
          <p:nvPr/>
        </p:nvCxnSpPr>
        <p:spPr>
          <a:xfrm flipV="1">
            <a:off x="2539427" y="5260011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6" name="Rectángulo redondeado 75"/>
          <p:cNvSpPr/>
          <p:nvPr/>
        </p:nvSpPr>
        <p:spPr>
          <a:xfrm>
            <a:off x="2734707" y="2908980"/>
            <a:ext cx="1682418" cy="3586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54000" rIns="0" rtlCol="0" anchor="ctr"/>
          <a:lstStyle/>
          <a:p>
            <a:pPr algn="ctr"/>
            <a:r>
              <a:rPr lang="es-CL" sz="1200" b="1" dirty="0">
                <a:solidFill>
                  <a:schemeClr val="tx2">
                    <a:lumMod val="50000"/>
                  </a:schemeClr>
                </a:solidFill>
              </a:rPr>
              <a:t>Autorización de Alimentos</a:t>
            </a:r>
          </a:p>
        </p:txBody>
      </p:sp>
      <p:sp>
        <p:nvSpPr>
          <p:cNvPr id="77" name="Rectángulo redondeado 76"/>
          <p:cNvSpPr/>
          <p:nvPr/>
        </p:nvSpPr>
        <p:spPr>
          <a:xfrm>
            <a:off x="2734707" y="3339668"/>
            <a:ext cx="1682418" cy="3586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s-CL" sz="1200" b="1" dirty="0">
                <a:solidFill>
                  <a:schemeClr val="tx2">
                    <a:lumMod val="50000"/>
                  </a:schemeClr>
                </a:solidFill>
              </a:rPr>
              <a:t>Calificación Industrial</a:t>
            </a:r>
          </a:p>
        </p:txBody>
      </p:sp>
      <p:sp>
        <p:nvSpPr>
          <p:cNvPr id="78" name="Rectángulo redondeado 77"/>
          <p:cNvSpPr/>
          <p:nvPr/>
        </p:nvSpPr>
        <p:spPr>
          <a:xfrm>
            <a:off x="2734707" y="3771716"/>
            <a:ext cx="1682418" cy="3586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s-CL" sz="1400" dirty="0">
                <a:solidFill>
                  <a:schemeClr val="tx2">
                    <a:lumMod val="50000"/>
                  </a:schemeClr>
                </a:solidFill>
              </a:rPr>
              <a:t>Informe Sanitario</a:t>
            </a:r>
          </a:p>
        </p:txBody>
      </p:sp>
      <p:sp>
        <p:nvSpPr>
          <p:cNvPr id="79" name="Rectángulo redondeado 78"/>
          <p:cNvSpPr/>
          <p:nvPr/>
        </p:nvSpPr>
        <p:spPr>
          <a:xfrm>
            <a:off x="2734707" y="4637172"/>
            <a:ext cx="1682418" cy="358680"/>
          </a:xfrm>
          <a:prstGeom prst="roundRect">
            <a:avLst/>
          </a:prstGeom>
          <a:solidFill>
            <a:schemeClr val="accent3">
              <a:lumMod val="8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s-CL" sz="1200" dirty="0"/>
              <a:t>Proyecto Agua Potable</a:t>
            </a:r>
          </a:p>
        </p:txBody>
      </p:sp>
      <p:sp>
        <p:nvSpPr>
          <p:cNvPr id="80" name="Rectángulo redondeado 79"/>
          <p:cNvSpPr/>
          <p:nvPr/>
        </p:nvSpPr>
        <p:spPr>
          <a:xfrm>
            <a:off x="2734707" y="5069220"/>
            <a:ext cx="1682418" cy="358680"/>
          </a:xfrm>
          <a:prstGeom prst="roundRect">
            <a:avLst/>
          </a:prstGeom>
          <a:solidFill>
            <a:schemeClr val="accent3">
              <a:lumMod val="8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s-CL" sz="1600" dirty="0"/>
              <a:t>Asbesto</a:t>
            </a:r>
          </a:p>
        </p:txBody>
      </p:sp>
      <p:cxnSp>
        <p:nvCxnSpPr>
          <p:cNvPr id="81" name="Conector recto de flecha 80"/>
          <p:cNvCxnSpPr/>
          <p:nvPr/>
        </p:nvCxnSpPr>
        <p:spPr>
          <a:xfrm flipV="1">
            <a:off x="2539428" y="3959889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2" name="Conector recto de flecha 81"/>
          <p:cNvCxnSpPr/>
          <p:nvPr/>
        </p:nvCxnSpPr>
        <p:spPr>
          <a:xfrm flipV="1">
            <a:off x="2554971" y="4799876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3" name="Rectángulo redondeado 82"/>
          <p:cNvSpPr/>
          <p:nvPr/>
        </p:nvSpPr>
        <p:spPr>
          <a:xfrm>
            <a:off x="2745806" y="5498840"/>
            <a:ext cx="1682418" cy="358680"/>
          </a:xfrm>
          <a:prstGeom prst="roundRect">
            <a:avLst/>
          </a:prstGeom>
          <a:solidFill>
            <a:srgbClr val="FFAA2D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72000" rIns="0" rtlCol="0" anchor="ctr"/>
          <a:lstStyle/>
          <a:p>
            <a:pPr algn="ctr"/>
            <a:r>
              <a:rPr lang="es-CL" sz="1200" dirty="0">
                <a:solidFill>
                  <a:schemeClr val="tx2">
                    <a:lumMod val="50000"/>
                  </a:schemeClr>
                </a:solidFill>
              </a:rPr>
              <a:t>Certificación de Ópticos </a:t>
            </a:r>
          </a:p>
        </p:txBody>
      </p:sp>
      <p:sp>
        <p:nvSpPr>
          <p:cNvPr id="84" name="Rectángulo redondeado 83"/>
          <p:cNvSpPr/>
          <p:nvPr/>
        </p:nvSpPr>
        <p:spPr>
          <a:xfrm>
            <a:off x="2745806" y="5933316"/>
            <a:ext cx="1682418" cy="358680"/>
          </a:xfrm>
          <a:prstGeom prst="roundRect">
            <a:avLst/>
          </a:prstGeom>
          <a:solidFill>
            <a:srgbClr val="FFAA2D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72000" rIns="0" rtlCol="0" anchor="ctr"/>
          <a:lstStyle/>
          <a:p>
            <a:pPr algn="ctr"/>
            <a:r>
              <a:rPr lang="es-CL" sz="1200" dirty="0">
                <a:solidFill>
                  <a:schemeClr val="tx2">
                    <a:lumMod val="50000"/>
                  </a:schemeClr>
                </a:solidFill>
              </a:rPr>
              <a:t>Certificación de Contactólogos</a:t>
            </a:r>
          </a:p>
        </p:txBody>
      </p:sp>
      <p:cxnSp>
        <p:nvCxnSpPr>
          <p:cNvPr id="85" name="Conector recto de flecha 84"/>
          <p:cNvCxnSpPr/>
          <p:nvPr/>
        </p:nvCxnSpPr>
        <p:spPr>
          <a:xfrm flipV="1">
            <a:off x="2539534" y="5996250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6" name="Conector recto de flecha 85"/>
          <p:cNvCxnSpPr/>
          <p:nvPr/>
        </p:nvCxnSpPr>
        <p:spPr>
          <a:xfrm flipV="1">
            <a:off x="2544977" y="5685682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8" name="CuadroTexto 27"/>
          <p:cNvSpPr txBox="1"/>
          <p:nvPr/>
        </p:nvSpPr>
        <p:spPr>
          <a:xfrm>
            <a:off x="1680821" y="1068560"/>
            <a:ext cx="1296144" cy="360040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r>
              <a:rPr lang="es-CL" dirty="0"/>
              <a:t>Trámites</a:t>
            </a:r>
          </a:p>
        </p:txBody>
      </p:sp>
      <p:sp>
        <p:nvSpPr>
          <p:cNvPr id="29" name="CuadroTexto 28"/>
          <p:cNvSpPr txBox="1"/>
          <p:nvPr/>
        </p:nvSpPr>
        <p:spPr>
          <a:xfrm>
            <a:off x="3419872" y="1041389"/>
            <a:ext cx="51845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dirty="0">
                <a:solidFill>
                  <a:schemeClr val="tx2">
                    <a:lumMod val="50000"/>
                  </a:schemeClr>
                </a:solidFill>
              </a:rPr>
              <a:t>Habilitar trámites desarrollados a Nivel Nacion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dirty="0">
                <a:solidFill>
                  <a:schemeClr val="tx2">
                    <a:lumMod val="50000"/>
                  </a:schemeClr>
                </a:solidFill>
              </a:rPr>
              <a:t>Desarrollar Nuevos trámites</a:t>
            </a:r>
          </a:p>
        </p:txBody>
      </p:sp>
      <p:sp>
        <p:nvSpPr>
          <p:cNvPr id="87" name="Rectángulo 86"/>
          <p:cNvSpPr/>
          <p:nvPr/>
        </p:nvSpPr>
        <p:spPr>
          <a:xfrm>
            <a:off x="4572000" y="2259548"/>
            <a:ext cx="1933357" cy="57573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4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uevos 2019</a:t>
            </a:r>
          </a:p>
          <a:p>
            <a:pPr algn="ctr"/>
            <a:r>
              <a:rPr lang="es-CL" sz="14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rmacia-</a:t>
            </a:r>
            <a:r>
              <a:rPr lang="es-CL" sz="1400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f.Médicas</a:t>
            </a:r>
            <a:endParaRPr lang="es-CL" sz="14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88" name="Conector recto 87"/>
          <p:cNvCxnSpPr/>
          <p:nvPr/>
        </p:nvCxnSpPr>
        <p:spPr>
          <a:xfrm>
            <a:off x="4627661" y="2844137"/>
            <a:ext cx="11097" cy="3159042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9" name="Conector recto de flecha 88"/>
          <p:cNvCxnSpPr/>
          <p:nvPr/>
        </p:nvCxnSpPr>
        <p:spPr>
          <a:xfrm flipV="1">
            <a:off x="4627660" y="3264419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90" name="Conector recto de flecha 89"/>
          <p:cNvCxnSpPr/>
          <p:nvPr/>
        </p:nvCxnSpPr>
        <p:spPr>
          <a:xfrm flipV="1">
            <a:off x="4643203" y="3696467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91" name="Conector recto de flecha 90"/>
          <p:cNvCxnSpPr/>
          <p:nvPr/>
        </p:nvCxnSpPr>
        <p:spPr>
          <a:xfrm flipV="1">
            <a:off x="4627659" y="5107470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2" name="Rectángulo redondeado 91"/>
          <p:cNvSpPr/>
          <p:nvPr/>
        </p:nvSpPr>
        <p:spPr>
          <a:xfrm>
            <a:off x="4822939" y="3074748"/>
            <a:ext cx="1682418" cy="358680"/>
          </a:xfrm>
          <a:prstGeom prst="roundRect">
            <a:avLst/>
          </a:prstGeom>
          <a:solidFill>
            <a:srgbClr val="FFAA2D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54000" rIns="0" rtlCol="0" anchor="ctr"/>
          <a:lstStyle/>
          <a:p>
            <a:pPr algn="ctr"/>
            <a:r>
              <a:rPr lang="es-CL" sz="1200" dirty="0">
                <a:solidFill>
                  <a:schemeClr val="tx2">
                    <a:lumMod val="50000"/>
                  </a:schemeClr>
                </a:solidFill>
              </a:rPr>
              <a:t>Certificación de Podólogos</a:t>
            </a:r>
          </a:p>
        </p:txBody>
      </p:sp>
      <p:sp>
        <p:nvSpPr>
          <p:cNvPr id="93" name="Rectángulo redondeado 92"/>
          <p:cNvSpPr/>
          <p:nvPr/>
        </p:nvSpPr>
        <p:spPr>
          <a:xfrm>
            <a:off x="4822939" y="3532265"/>
            <a:ext cx="1682418" cy="358680"/>
          </a:xfrm>
          <a:prstGeom prst="roundRect">
            <a:avLst/>
          </a:prstGeom>
          <a:solidFill>
            <a:srgbClr val="FFAA2D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s-CL" sz="1200" dirty="0">
                <a:solidFill>
                  <a:schemeClr val="tx2">
                    <a:lumMod val="50000"/>
                  </a:schemeClr>
                </a:solidFill>
              </a:rPr>
              <a:t>Certificación de Odontólogos</a:t>
            </a:r>
          </a:p>
        </p:txBody>
      </p:sp>
      <p:sp>
        <p:nvSpPr>
          <p:cNvPr id="94" name="Rectángulo redondeado 93"/>
          <p:cNvSpPr/>
          <p:nvPr/>
        </p:nvSpPr>
        <p:spPr>
          <a:xfrm>
            <a:off x="4822939" y="3991264"/>
            <a:ext cx="1682418" cy="3586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s-CL" sz="1200" dirty="0">
                <a:solidFill>
                  <a:schemeClr val="tx2">
                    <a:lumMod val="50000"/>
                  </a:schemeClr>
                </a:solidFill>
              </a:rPr>
              <a:t>Certificación de Auxiliares de Farmacia</a:t>
            </a:r>
          </a:p>
        </p:txBody>
      </p:sp>
      <p:sp>
        <p:nvSpPr>
          <p:cNvPr id="95" name="Rectángulo redondeado 94"/>
          <p:cNvSpPr/>
          <p:nvPr/>
        </p:nvSpPr>
        <p:spPr>
          <a:xfrm>
            <a:off x="4822939" y="4448781"/>
            <a:ext cx="1682418" cy="358680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s-CL" sz="1200" dirty="0">
                <a:solidFill>
                  <a:schemeClr val="tx2">
                    <a:lumMod val="50000"/>
                  </a:schemeClr>
                </a:solidFill>
              </a:rPr>
              <a:t>Registro de Director Técnico de Farmacias</a:t>
            </a:r>
          </a:p>
        </p:txBody>
      </p:sp>
      <p:sp>
        <p:nvSpPr>
          <p:cNvPr id="96" name="Rectángulo redondeado 95"/>
          <p:cNvSpPr/>
          <p:nvPr/>
        </p:nvSpPr>
        <p:spPr>
          <a:xfrm>
            <a:off x="4822939" y="4913535"/>
            <a:ext cx="1682418" cy="358680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s-CL" sz="900" dirty="0">
                <a:solidFill>
                  <a:schemeClr val="tx2">
                    <a:lumMod val="50000"/>
                  </a:schemeClr>
                </a:solidFill>
              </a:rPr>
              <a:t>Autorización de Establecimientos </a:t>
            </a:r>
            <a:r>
              <a:rPr lang="es-CL" sz="1050" dirty="0">
                <a:solidFill>
                  <a:schemeClr val="tx2">
                    <a:lumMod val="50000"/>
                  </a:schemeClr>
                </a:solidFill>
              </a:rPr>
              <a:t>Farmacéuticos</a:t>
            </a:r>
          </a:p>
        </p:txBody>
      </p:sp>
      <p:cxnSp>
        <p:nvCxnSpPr>
          <p:cNvPr id="97" name="Conector recto de flecha 96"/>
          <p:cNvCxnSpPr/>
          <p:nvPr/>
        </p:nvCxnSpPr>
        <p:spPr>
          <a:xfrm flipV="1">
            <a:off x="4627660" y="4179437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98" name="Conector recto de flecha 97"/>
          <p:cNvCxnSpPr/>
          <p:nvPr/>
        </p:nvCxnSpPr>
        <p:spPr>
          <a:xfrm flipV="1">
            <a:off x="4643203" y="4611485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9" name="Rectángulo redondeado 98"/>
          <p:cNvSpPr/>
          <p:nvPr/>
        </p:nvSpPr>
        <p:spPr>
          <a:xfrm>
            <a:off x="4834038" y="5366322"/>
            <a:ext cx="1682418" cy="358680"/>
          </a:xfrm>
          <a:prstGeom prst="roundRect">
            <a:avLst/>
          </a:prstGeom>
          <a:solidFill>
            <a:srgbClr val="FFAA2D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72000" rIns="0" rtlCol="0" anchor="ctr"/>
          <a:lstStyle/>
          <a:p>
            <a:pPr algn="ctr"/>
            <a:r>
              <a:rPr lang="es-MX" sz="800" dirty="0">
                <a:solidFill>
                  <a:schemeClr val="tx2">
                    <a:lumMod val="50000"/>
                  </a:schemeClr>
                </a:solidFill>
              </a:rPr>
              <a:t>Autorización de Establecimientos </a:t>
            </a:r>
            <a:r>
              <a:rPr lang="es-MX" sz="1000" dirty="0">
                <a:solidFill>
                  <a:schemeClr val="tx2">
                    <a:lumMod val="50000"/>
                  </a:schemeClr>
                </a:solidFill>
              </a:rPr>
              <a:t>de larga estadía </a:t>
            </a:r>
            <a:endParaRPr lang="es-CL" sz="2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0" name="Rectángulo redondeado 99"/>
          <p:cNvSpPr/>
          <p:nvPr/>
        </p:nvSpPr>
        <p:spPr>
          <a:xfrm>
            <a:off x="4834038" y="5819109"/>
            <a:ext cx="1682418" cy="358680"/>
          </a:xfrm>
          <a:prstGeom prst="roundRect">
            <a:avLst/>
          </a:prstGeom>
          <a:solidFill>
            <a:srgbClr val="FFAA2D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72000" rIns="0" rtlCol="0" anchor="ctr"/>
          <a:lstStyle/>
          <a:p>
            <a:pPr algn="ctr"/>
            <a:r>
              <a:rPr lang="es-CL" sz="1200" dirty="0">
                <a:solidFill>
                  <a:schemeClr val="tx2">
                    <a:lumMod val="50000"/>
                  </a:schemeClr>
                </a:solidFill>
              </a:rPr>
              <a:t>Exención de pago</a:t>
            </a:r>
            <a:r>
              <a:rPr lang="es-CL" sz="1000" dirty="0">
                <a:solidFill>
                  <a:schemeClr val="tx2">
                    <a:lumMod val="50000"/>
                  </a:schemeClr>
                </a:solidFill>
              </a:rPr>
              <a:t>.</a:t>
            </a:r>
            <a:endParaRPr lang="es-CL" sz="700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101" name="Conector recto de flecha 100"/>
          <p:cNvCxnSpPr/>
          <p:nvPr/>
        </p:nvCxnSpPr>
        <p:spPr>
          <a:xfrm flipV="1">
            <a:off x="4627766" y="5996250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02" name="Conector recto de flecha 101"/>
          <p:cNvCxnSpPr/>
          <p:nvPr/>
        </p:nvCxnSpPr>
        <p:spPr>
          <a:xfrm flipV="1">
            <a:off x="4633209" y="5561892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3" name="Rectángulo 102"/>
          <p:cNvSpPr/>
          <p:nvPr/>
        </p:nvSpPr>
        <p:spPr>
          <a:xfrm>
            <a:off x="6660232" y="2259548"/>
            <a:ext cx="1933357" cy="57573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4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uevos 2019</a:t>
            </a:r>
          </a:p>
        </p:txBody>
      </p:sp>
      <p:cxnSp>
        <p:nvCxnSpPr>
          <p:cNvPr id="104" name="Conector recto 103"/>
          <p:cNvCxnSpPr/>
          <p:nvPr/>
        </p:nvCxnSpPr>
        <p:spPr>
          <a:xfrm>
            <a:off x="6715893" y="2844137"/>
            <a:ext cx="15542" cy="1359572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05" name="Conector recto de flecha 104"/>
          <p:cNvCxnSpPr/>
          <p:nvPr/>
        </p:nvCxnSpPr>
        <p:spPr>
          <a:xfrm flipV="1">
            <a:off x="6715892" y="3264419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06" name="Conector recto de flecha 105"/>
          <p:cNvCxnSpPr/>
          <p:nvPr/>
        </p:nvCxnSpPr>
        <p:spPr>
          <a:xfrm flipV="1">
            <a:off x="6731435" y="3696467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8" name="Rectángulo redondeado 107"/>
          <p:cNvSpPr/>
          <p:nvPr/>
        </p:nvSpPr>
        <p:spPr>
          <a:xfrm>
            <a:off x="6911171" y="3074748"/>
            <a:ext cx="1682418" cy="358680"/>
          </a:xfrm>
          <a:prstGeom prst="roundRect">
            <a:avLst/>
          </a:prstGeom>
          <a:solidFill>
            <a:srgbClr val="FFAA2D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54000" rIns="0" rtlCol="0" anchor="ctr"/>
          <a:lstStyle/>
          <a:p>
            <a:pPr algn="ctr"/>
            <a:r>
              <a:rPr lang="es-CL" sz="1050" dirty="0">
                <a:solidFill>
                  <a:schemeClr val="tx2">
                    <a:lumMod val="50000"/>
                  </a:schemeClr>
                </a:solidFill>
              </a:rPr>
              <a:t>Certificación </a:t>
            </a:r>
            <a:r>
              <a:rPr lang="es-MX" sz="1050" dirty="0">
                <a:solidFill>
                  <a:schemeClr val="tx2">
                    <a:lumMod val="50000"/>
                  </a:schemeClr>
                </a:solidFill>
              </a:rPr>
              <a:t>de operadores de calderas y autoclaves</a:t>
            </a:r>
            <a:endParaRPr lang="es-CL" sz="8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9" name="Rectángulo redondeado 108"/>
          <p:cNvSpPr/>
          <p:nvPr/>
        </p:nvSpPr>
        <p:spPr>
          <a:xfrm>
            <a:off x="6911171" y="3532265"/>
            <a:ext cx="1682418" cy="358680"/>
          </a:xfrm>
          <a:prstGeom prst="roundRect">
            <a:avLst/>
          </a:prstGeom>
          <a:solidFill>
            <a:srgbClr val="FFAA2D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s-CL" sz="800" dirty="0" smtClean="0">
                <a:solidFill>
                  <a:schemeClr val="tx2">
                    <a:lumMod val="50000"/>
                  </a:schemeClr>
                </a:solidFill>
              </a:rPr>
              <a:t>Autorización Sanitaria para personas que se desempeñan en instalaciones radiactivas</a:t>
            </a:r>
            <a:endParaRPr lang="es-CL" sz="6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1" name="Rectángulo redondeado 110"/>
          <p:cNvSpPr/>
          <p:nvPr/>
        </p:nvSpPr>
        <p:spPr>
          <a:xfrm>
            <a:off x="6911171" y="4001167"/>
            <a:ext cx="1682418" cy="447614"/>
          </a:xfrm>
          <a:prstGeom prst="roundRect">
            <a:avLst/>
          </a:prstGeom>
          <a:solidFill>
            <a:srgbClr val="FFAA2D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s-MX" sz="800" dirty="0">
                <a:solidFill>
                  <a:schemeClr val="tx2">
                    <a:lumMod val="50000"/>
                  </a:schemeClr>
                </a:solidFill>
              </a:rPr>
              <a:t>Autorización para exhumación, traslado dentro del territorio nacional de cadáveres o restos humanos</a:t>
            </a:r>
            <a:endParaRPr lang="es-CL" sz="500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113" name="Conector recto de flecha 112"/>
          <p:cNvCxnSpPr/>
          <p:nvPr/>
        </p:nvCxnSpPr>
        <p:spPr>
          <a:xfrm flipV="1">
            <a:off x="6715892" y="4179437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20" name="Rectángulo redondeado 119"/>
          <p:cNvSpPr/>
          <p:nvPr/>
        </p:nvSpPr>
        <p:spPr>
          <a:xfrm>
            <a:off x="6737602" y="1507311"/>
            <a:ext cx="504056" cy="358680"/>
          </a:xfrm>
          <a:prstGeom prst="roundRect">
            <a:avLst/>
          </a:prstGeom>
          <a:solidFill>
            <a:srgbClr val="FFAA2D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72000" rIns="0" rtlCol="0" anchor="ctr"/>
          <a:lstStyle/>
          <a:p>
            <a:pPr algn="ctr"/>
            <a:r>
              <a:rPr lang="es-CL" sz="1200" dirty="0"/>
              <a:t>PMG</a:t>
            </a:r>
            <a:r>
              <a:rPr lang="es-CL" sz="1000" dirty="0"/>
              <a:t>.</a:t>
            </a:r>
            <a:endParaRPr lang="es-CL" sz="700" dirty="0"/>
          </a:p>
        </p:txBody>
      </p:sp>
      <p:sp>
        <p:nvSpPr>
          <p:cNvPr id="121" name="Rectángulo redondeado 120"/>
          <p:cNvSpPr/>
          <p:nvPr/>
        </p:nvSpPr>
        <p:spPr>
          <a:xfrm>
            <a:off x="2734707" y="4203709"/>
            <a:ext cx="1682418" cy="358680"/>
          </a:xfrm>
          <a:prstGeom prst="roundRect">
            <a:avLst/>
          </a:prstGeom>
          <a:solidFill>
            <a:schemeClr val="accent3">
              <a:lumMod val="8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s-CL" sz="1200" dirty="0"/>
              <a:t>Cambio de Razón Social</a:t>
            </a:r>
          </a:p>
        </p:txBody>
      </p:sp>
      <p:cxnSp>
        <p:nvCxnSpPr>
          <p:cNvPr id="123" name="Conector recto de flecha 122"/>
          <p:cNvCxnSpPr/>
          <p:nvPr/>
        </p:nvCxnSpPr>
        <p:spPr>
          <a:xfrm flipV="1">
            <a:off x="2559415" y="4361035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3765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AA122F40-49FA-4842-82E6-6EB9F25A2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713" y="224062"/>
            <a:ext cx="7267862" cy="298327"/>
          </a:xfrm>
        </p:spPr>
        <p:txBody>
          <a:bodyPr/>
          <a:lstStyle/>
          <a:p>
            <a:r>
              <a:rPr lang="es-CL" dirty="0" smtClean="0"/>
              <a:t>PROYECTOS DE GLORIA ALFARO PIZARRO</a:t>
            </a:r>
            <a:endParaRPr lang="es-CL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8D6235B3-AA68-4337-87DC-ACCA35C112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12</a:t>
            </a:fld>
            <a:endParaRPr lang="es-CL" dirty="0"/>
          </a:p>
        </p:txBody>
      </p:sp>
      <p:graphicFrame>
        <p:nvGraphicFramePr>
          <p:cNvPr id="4" name="Diagrama 3">
            <a:extLst>
              <a:ext uri="{FF2B5EF4-FFF2-40B4-BE49-F238E27FC236}">
                <a16:creationId xmlns:a16="http://schemas.microsoft.com/office/drawing/2014/main" xmlns="" id="{1D9099F5-0984-43A2-BE78-89EF45866FF1}"/>
              </a:ext>
            </a:extLst>
          </p:cNvPr>
          <p:cNvGraphicFramePr/>
          <p:nvPr>
            <p:extLst/>
          </p:nvPr>
        </p:nvGraphicFramePr>
        <p:xfrm>
          <a:off x="1" y="901522"/>
          <a:ext cx="9144000" cy="55920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Imagen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54236" y="5118582"/>
            <a:ext cx="1089139" cy="4524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74419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D744F0F5-26A3-445F-A40E-3F1A36FC5B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13</a:t>
            </a:fld>
            <a:endParaRPr lang="es-CL" dirty="0"/>
          </a:p>
        </p:txBody>
      </p:sp>
      <p:graphicFrame>
        <p:nvGraphicFramePr>
          <p:cNvPr id="4" name="Diagrama 3">
            <a:extLst>
              <a:ext uri="{FF2B5EF4-FFF2-40B4-BE49-F238E27FC236}">
                <a16:creationId xmlns:a16="http://schemas.microsoft.com/office/drawing/2014/main" xmlns="" id="{ABF35C34-4B14-4DA7-802E-8BEEB75520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5510201"/>
              </p:ext>
            </p:extLst>
          </p:nvPr>
        </p:nvGraphicFramePr>
        <p:xfrm>
          <a:off x="0" y="861292"/>
          <a:ext cx="9144000" cy="55920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Flecha: a la izquierda y derecha 4">
            <a:extLst>
              <a:ext uri="{FF2B5EF4-FFF2-40B4-BE49-F238E27FC236}">
                <a16:creationId xmlns:a16="http://schemas.microsoft.com/office/drawing/2014/main" xmlns="" id="{1EC27D08-0EBA-42D2-9950-8574AD03A55F}"/>
              </a:ext>
            </a:extLst>
          </p:cNvPr>
          <p:cNvSpPr/>
          <p:nvPr/>
        </p:nvSpPr>
        <p:spPr>
          <a:xfrm>
            <a:off x="6701051" y="1306183"/>
            <a:ext cx="491319" cy="272955"/>
          </a:xfrm>
          <a:prstGeom prst="leftRightArrow">
            <a:avLst/>
          </a:prstGeom>
          <a:solidFill>
            <a:srgbClr val="E56301"/>
          </a:solidFill>
          <a:ln w="9525">
            <a:solidFill>
              <a:srgbClr val="BF520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>
              <a:solidFill>
                <a:schemeClr val="tx1"/>
              </a:solidFill>
            </a:endParaRPr>
          </a:p>
        </p:txBody>
      </p:sp>
      <p:pic>
        <p:nvPicPr>
          <p:cNvPr id="7" name="Imagen 6" descr="Imagen que contiene animal, insecto&#10;&#10;Descripción generada con confianza muy alta">
            <a:extLst>
              <a:ext uri="{FF2B5EF4-FFF2-40B4-BE49-F238E27FC236}">
                <a16:creationId xmlns:a16="http://schemas.microsoft.com/office/drawing/2014/main" xmlns="" id="{75E6160E-966D-44E4-8E6D-5FCC54157D6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456" y="908043"/>
            <a:ext cx="656507" cy="39814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37A8A7D4-DF20-4BBE-B42F-25D23513C25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35696" y="5667662"/>
            <a:ext cx="1770838" cy="929690"/>
          </a:xfrm>
          <a:prstGeom prst="rect">
            <a:avLst/>
          </a:prstGeom>
          <a:ln w="12700">
            <a:solidFill>
              <a:schemeClr val="tx2"/>
            </a:solidFill>
          </a:ln>
        </p:spPr>
      </p:pic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xmlns="" id="{FC6E5372-E8FB-4F9B-9630-0D2F35B9C317}"/>
              </a:ext>
            </a:extLst>
          </p:cNvPr>
          <p:cNvCxnSpPr/>
          <p:nvPr/>
        </p:nvCxnSpPr>
        <p:spPr>
          <a:xfrm flipH="1">
            <a:off x="2771800" y="5214715"/>
            <a:ext cx="1218844" cy="4320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cto de flecha 11">
            <a:extLst>
              <a:ext uri="{FF2B5EF4-FFF2-40B4-BE49-F238E27FC236}">
                <a16:creationId xmlns:a16="http://schemas.microsoft.com/office/drawing/2014/main" xmlns="" id="{15BD5380-901C-42AA-B734-64CCBF04E846}"/>
              </a:ext>
            </a:extLst>
          </p:cNvPr>
          <p:cNvCxnSpPr/>
          <p:nvPr/>
        </p:nvCxnSpPr>
        <p:spPr>
          <a:xfrm>
            <a:off x="1475656" y="5214715"/>
            <a:ext cx="1296144" cy="4320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ítulo 1">
            <a:extLst>
              <a:ext uri="{FF2B5EF4-FFF2-40B4-BE49-F238E27FC236}">
                <a16:creationId xmlns:a16="http://schemas.microsoft.com/office/drawing/2014/main" xmlns="" id="{AA122F40-49FA-4842-82E6-6EB9F25A2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713" y="224062"/>
            <a:ext cx="7267862" cy="298327"/>
          </a:xfrm>
        </p:spPr>
        <p:txBody>
          <a:bodyPr/>
          <a:lstStyle/>
          <a:p>
            <a:r>
              <a:rPr lang="es-CL" dirty="0" smtClean="0"/>
              <a:t>PROYECTOS DE MYRLEN ORTIZ OYARZÚN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1458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080415AC-A748-47A4-9EE2-9C8FA68922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14</a:t>
            </a:fld>
            <a:endParaRPr lang="es-CL" dirty="0"/>
          </a:p>
        </p:txBody>
      </p:sp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xmlns="" id="{FF77543A-D1F6-47E9-A080-1EFCEA75D4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64869365"/>
              </p:ext>
            </p:extLst>
          </p:nvPr>
        </p:nvGraphicFramePr>
        <p:xfrm>
          <a:off x="352137" y="901522"/>
          <a:ext cx="8791863" cy="55920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ítulo 1">
            <a:extLst>
              <a:ext uri="{FF2B5EF4-FFF2-40B4-BE49-F238E27FC236}">
                <a16:creationId xmlns:a16="http://schemas.microsoft.com/office/drawing/2014/main" xmlns="" id="{AA122F40-49FA-4842-82E6-6EB9F25A2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713" y="224062"/>
            <a:ext cx="7267862" cy="298327"/>
          </a:xfrm>
        </p:spPr>
        <p:txBody>
          <a:bodyPr/>
          <a:lstStyle/>
          <a:p>
            <a:r>
              <a:rPr lang="es-CL" dirty="0" smtClean="0"/>
              <a:t>PROYECTOS DE NATALIA GODOY RAM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0212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A127E1C1-16F8-4481-89FA-30F3D1F45C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15</a:t>
            </a:fld>
            <a:endParaRPr lang="es-CL" dirty="0"/>
          </a:p>
        </p:txBody>
      </p:sp>
      <p:graphicFrame>
        <p:nvGraphicFramePr>
          <p:cNvPr id="4" name="Diagrama 3">
            <a:extLst>
              <a:ext uri="{FF2B5EF4-FFF2-40B4-BE49-F238E27FC236}">
                <a16:creationId xmlns:a16="http://schemas.microsoft.com/office/drawing/2014/main" xmlns="" id="{0FAB7377-5378-4FD9-A16F-FF795F9046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683919"/>
              </p:ext>
            </p:extLst>
          </p:nvPr>
        </p:nvGraphicFramePr>
        <p:xfrm>
          <a:off x="345776" y="908720"/>
          <a:ext cx="8791863" cy="55920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ítulo 1">
            <a:extLst>
              <a:ext uri="{FF2B5EF4-FFF2-40B4-BE49-F238E27FC236}">
                <a16:creationId xmlns:a16="http://schemas.microsoft.com/office/drawing/2014/main" xmlns="" id="{AA122F40-49FA-4842-82E6-6EB9F25A2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713" y="224062"/>
            <a:ext cx="7267862" cy="298327"/>
          </a:xfrm>
        </p:spPr>
        <p:txBody>
          <a:bodyPr/>
          <a:lstStyle/>
          <a:p>
            <a:r>
              <a:rPr lang="es-CL" dirty="0" smtClean="0"/>
              <a:t>PROYECTOS DE JOHANNA CORTÉS GUERRA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11313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En qué estamos hoy…</a:t>
            </a:r>
            <a:endParaRPr lang="en-US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16</a:t>
            </a:fld>
            <a:endParaRPr lang="es-CL" dirty="0"/>
          </a:p>
        </p:txBody>
      </p:sp>
      <p:sp>
        <p:nvSpPr>
          <p:cNvPr id="4" name="Rectángulo 3"/>
          <p:cNvSpPr/>
          <p:nvPr/>
        </p:nvSpPr>
        <p:spPr>
          <a:xfrm>
            <a:off x="356713" y="1172999"/>
            <a:ext cx="8568951" cy="62340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 smtClean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ámites</a:t>
            </a: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Implementando a Nivel Nacional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yecto Agua Potable y Alcantarillado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besto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mbio de Razón Social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ertificación de Ópticos y Contactólogos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ratización – Visita Cero Papel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s-CL" dirty="0">
              <a:solidFill>
                <a:srgbClr val="1B1B1B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 smtClean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lud Mental</a:t>
            </a:r>
            <a:r>
              <a:rPr lang="es-CL" dirty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Implementando </a:t>
            </a: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Nivel Nacional – Nueva Circular (Junio obligatoriedad)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rdedores</a:t>
            </a:r>
            <a:r>
              <a:rPr lang="es-CL" dirty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Incorporando a los Usuarios de los EESS y con Fiscalización Cero Papel de las SEREMIS, con la Excepción del Procedimiento de Eutanasia</a:t>
            </a: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s-CL" dirty="0">
              <a:solidFill>
                <a:srgbClr val="1B1B1B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 smtClean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imentos</a:t>
            </a: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es-CL" b="1" dirty="0" smtClean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scalización Cero Papel,</a:t>
            </a: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volucra cambios en SUMARIOS y migración de la versión Web (Programación)</a:t>
            </a:r>
            <a:endParaRPr lang="es-CL" dirty="0">
              <a:solidFill>
                <a:srgbClr val="1B1B1B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 smtClean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lidad</a:t>
            </a: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Terminando el desarrollo nuevo </a:t>
            </a:r>
            <a:r>
              <a:rPr lang="es-CL" dirty="0" err="1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bmódulo</a:t>
            </a: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 Hallazgos.</a:t>
            </a:r>
            <a:endParaRPr lang="es-CL" dirty="0">
              <a:solidFill>
                <a:srgbClr val="1B1B1B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 smtClean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NAISO: </a:t>
            </a: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arrollando nuevo módulo. </a:t>
            </a:r>
            <a:endParaRPr lang="es-CL" b="1" dirty="0">
              <a:solidFill>
                <a:srgbClr val="1B1B1B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 smtClean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moción</a:t>
            </a: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Cerrando Planes 2016-2018.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 smtClean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rmacia</a:t>
            </a: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Automatizar la subida de datos.gob.cl respecto a los turnos de farmacias</a:t>
            </a:r>
            <a:endParaRPr lang="es-CL" dirty="0">
              <a:solidFill>
                <a:srgbClr val="1B1B1B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s-CL" dirty="0" smtClean="0">
              <a:solidFill>
                <a:srgbClr val="1B1B1B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s-CL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8566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Desafíos 2019</a:t>
            </a:r>
            <a:endParaRPr lang="en-US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17</a:t>
            </a:fld>
            <a:endParaRPr lang="es-CL" dirty="0"/>
          </a:p>
        </p:txBody>
      </p:sp>
      <p:sp>
        <p:nvSpPr>
          <p:cNvPr id="4" name="Rectángulo 3"/>
          <p:cNvSpPr/>
          <p:nvPr/>
        </p:nvSpPr>
        <p:spPr>
          <a:xfrm>
            <a:off x="356713" y="915441"/>
            <a:ext cx="8568951" cy="5773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 smtClean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ámites</a:t>
            </a: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Desarrollo nuevos trámites PMG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ertificación de Podólogos y Odontólogos (2)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ertificación de Operadores de Caldera y Autoclave (5)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torización ELEAM (EE Larga Estadía Adulto Mayor)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licitud de Exención de PAGO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torización para traslado de Cadáveres y restos humanos.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torización Sanitaria que se desempeñan en instalaciones radiactivas</a:t>
            </a:r>
          </a:p>
          <a:p>
            <a:pPr lvl="1" indent="0" algn="just">
              <a:lnSpc>
                <a:spcPct val="100000"/>
              </a:lnSpc>
              <a:spcAft>
                <a:spcPts val="0"/>
              </a:spcAft>
            </a:pPr>
            <a:endParaRPr lang="es-CL" dirty="0" smtClean="0">
              <a:solidFill>
                <a:srgbClr val="1B1B1B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 indent="0" algn="just">
              <a:lnSpc>
                <a:spcPct val="100000"/>
              </a:lnSpc>
              <a:spcAft>
                <a:spcPts val="0"/>
              </a:spcAft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TROS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portación de sustancias radiactivas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torización para traer el producto de sustancias radiactivas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DA de sustancias radiactivas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err="1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yD</a:t>
            </a: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 sustancias radiactivas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torización de tránsito de sustancias radiactivas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gistro </a:t>
            </a:r>
            <a:r>
              <a:rPr lang="es-CL" dirty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 DT de farmacia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torización EE-Farmacéuticos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lud Ocupacional 1 y 2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ertificación de Auxiliares y Practicantes (2)</a:t>
            </a:r>
          </a:p>
          <a:p>
            <a:pPr marL="1028700" lvl="1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s-CL" dirty="0">
              <a:solidFill>
                <a:srgbClr val="1B1B1B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s-CL" dirty="0">
              <a:solidFill>
                <a:srgbClr val="1B1B1B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0579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Desafíos 2019</a:t>
            </a:r>
            <a:endParaRPr lang="en-US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18</a:t>
            </a:fld>
            <a:endParaRPr lang="es-CL" dirty="0"/>
          </a:p>
        </p:txBody>
      </p:sp>
      <p:sp>
        <p:nvSpPr>
          <p:cNvPr id="4" name="Rectángulo 3"/>
          <p:cNvSpPr/>
          <p:nvPr/>
        </p:nvSpPr>
        <p:spPr>
          <a:xfrm>
            <a:off x="467544" y="988510"/>
            <a:ext cx="8568951" cy="6270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 smtClean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mergencias: </a:t>
            </a: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arrollo de cápsulas de capacitación. </a:t>
            </a: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arrollo de administración que permita autonomía en la creación de usuarios a nivel regional.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 smtClean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mario Sanitario: </a:t>
            </a: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arrollo de la nueva versión</a:t>
            </a: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reación de una nueva </a:t>
            </a:r>
            <a:r>
              <a:rPr lang="es-CL" dirty="0" err="1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portabilidad</a:t>
            </a: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n el sistema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 smtClean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rmacia:</a:t>
            </a: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arrollo de la nueva versión</a:t>
            </a: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gitalización de la planilla con información trimestral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 smtClean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lidad:</a:t>
            </a: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dificación de las encuestas de satisfacción</a:t>
            </a: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lementación del nuevo </a:t>
            </a:r>
            <a:r>
              <a:rPr lang="es-CL" dirty="0" err="1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bmódulo</a:t>
            </a: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 hallazgos</a:t>
            </a: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reación del </a:t>
            </a:r>
            <a:r>
              <a:rPr lang="es-CL" dirty="0" err="1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bmódulo</a:t>
            </a: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 gestión documentada</a:t>
            </a: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s-CL" dirty="0">
              <a:solidFill>
                <a:srgbClr val="1B1B1B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s-CL" dirty="0">
              <a:solidFill>
                <a:srgbClr val="1B1B1B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55431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Desafíos 2019</a:t>
            </a:r>
            <a:endParaRPr lang="en-US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19</a:t>
            </a:fld>
            <a:endParaRPr lang="es-CL" dirty="0"/>
          </a:p>
        </p:txBody>
      </p:sp>
      <p:sp>
        <p:nvSpPr>
          <p:cNvPr id="4" name="Rectángulo 3"/>
          <p:cNvSpPr/>
          <p:nvPr/>
        </p:nvSpPr>
        <p:spPr>
          <a:xfrm>
            <a:off x="467544" y="988510"/>
            <a:ext cx="8568951" cy="59740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 smtClean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imentos: </a:t>
            </a: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bilitar nuevas fichas en la App:</a:t>
            </a:r>
          </a:p>
          <a:p>
            <a:pPr marL="1200150" lvl="2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manda espontánea</a:t>
            </a:r>
          </a:p>
          <a:p>
            <a:pPr marL="1200150" lvl="2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chas Decreto 13</a:t>
            </a:r>
          </a:p>
          <a:p>
            <a:pPr marL="1200150" lvl="2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cha Decreto 24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 smtClean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lud Ocupacional: </a:t>
            </a: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orporación de 2 fichas nuevas (</a:t>
            </a:r>
            <a:r>
              <a:rPr lang="es-CL" dirty="0" err="1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itostática</a:t>
            </a: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hiperbárica)</a:t>
            </a: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lementación fiscalización Cero Papel</a:t>
            </a: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arrollar fichas de los organismos administradores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 smtClean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nitoreo</a:t>
            </a: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nerar matriz de riesgo </a:t>
            </a:r>
            <a:r>
              <a:rPr lang="es-CL" dirty="0" err="1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RAa</a:t>
            </a:r>
            <a:endParaRPr lang="es-CL" dirty="0" smtClean="0">
              <a:solidFill>
                <a:srgbClr val="1B1B1B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nerar modelos predictivos</a:t>
            </a:r>
          </a:p>
          <a:p>
            <a:pPr lvl="1" algn="just">
              <a:lnSpc>
                <a:spcPct val="107000"/>
              </a:lnSpc>
              <a:spcAft>
                <a:spcPts val="800"/>
              </a:spcAft>
            </a:pP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cha Sanitaria: Incorporar mejoras y ajustes (Nuevos módulos)</a:t>
            </a:r>
          </a:p>
          <a:p>
            <a:pPr lvl="1" algn="just">
              <a:lnSpc>
                <a:spcPct val="107000"/>
              </a:lnSpc>
              <a:spcAft>
                <a:spcPts val="800"/>
              </a:spcAft>
            </a:pPr>
            <a:endParaRPr lang="es-CL" dirty="0" smtClean="0">
              <a:solidFill>
                <a:srgbClr val="1B1B1B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s-CL" dirty="0">
              <a:solidFill>
                <a:srgbClr val="1B1B1B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56485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BAFDCB79-5D67-4DF6-941B-F8049BD6E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2</a:t>
            </a:fld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1D5FD173-4377-4D17-BE81-584A5650C9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528" y="1029273"/>
            <a:ext cx="7097689" cy="55232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11498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Desafíos 2019</a:t>
            </a:r>
            <a:endParaRPr lang="en-US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20</a:t>
            </a:fld>
            <a:endParaRPr lang="es-CL" dirty="0"/>
          </a:p>
        </p:txBody>
      </p:sp>
      <p:sp>
        <p:nvSpPr>
          <p:cNvPr id="4" name="Rectángulo 3"/>
          <p:cNvSpPr/>
          <p:nvPr/>
        </p:nvSpPr>
        <p:spPr>
          <a:xfrm>
            <a:off x="467544" y="988510"/>
            <a:ext cx="8568951" cy="45663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oonosis</a:t>
            </a:r>
            <a:r>
              <a:rPr lang="es-CL" dirty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Definir una estrategia de implementación de:</a:t>
            </a:r>
          </a:p>
          <a:p>
            <a:pPr marL="987425" lvl="2" indent="-265113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rol de Foco</a:t>
            </a:r>
          </a:p>
          <a:p>
            <a:pPr marL="987425" lvl="2" indent="-265113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gistro de Enfermedades </a:t>
            </a:r>
            <a:r>
              <a:rPr lang="es-ES" dirty="0" err="1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oonóticas</a:t>
            </a:r>
            <a:endParaRPr lang="es-CL" dirty="0">
              <a:solidFill>
                <a:srgbClr val="1B1B1B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87425" lvl="2" indent="-265113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rol Sanitario de Vacunas </a:t>
            </a:r>
          </a:p>
          <a:p>
            <a:pPr marL="987425" lvl="2" indent="-265113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tros Registros </a:t>
            </a:r>
          </a:p>
          <a:p>
            <a:pPr marL="987425" lvl="2" indent="-265113" algn="just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CL" dirty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operabilidad con SEGPRE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s-CL" b="1" dirty="0" smtClean="0">
              <a:solidFill>
                <a:srgbClr val="1B1B1B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s-CL" b="1" dirty="0" smtClean="0">
              <a:solidFill>
                <a:srgbClr val="1B1B1B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 smtClean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cha Sanitaria: </a:t>
            </a:r>
            <a:r>
              <a:rPr lang="es-CL" dirty="0" smtClean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orporar mejoras y ajustes (Nuevos módulos)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evo Módulo: </a:t>
            </a:r>
            <a:r>
              <a:rPr lang="es-CL" dirty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cadores de Gestión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b="1" dirty="0">
                <a:solidFill>
                  <a:srgbClr val="1B1B1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evo Módulo: </a:t>
            </a:r>
            <a:r>
              <a:rPr lang="es-CL" dirty="0">
                <a:solidFill>
                  <a:srgbClr val="1B1B1B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stión Territorial</a:t>
            </a:r>
          </a:p>
          <a:p>
            <a:pPr lvl="1" algn="just">
              <a:lnSpc>
                <a:spcPct val="107000"/>
              </a:lnSpc>
              <a:spcAft>
                <a:spcPts val="800"/>
              </a:spcAft>
            </a:pPr>
            <a:endParaRPr lang="es-CL" dirty="0" smtClean="0">
              <a:solidFill>
                <a:srgbClr val="1B1B1B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s-CL" dirty="0">
              <a:solidFill>
                <a:srgbClr val="1B1B1B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71320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849E19-BB7A-4AF3-A824-A9232CF630CE}"/>
              </a:ext>
            </a:extLst>
          </p:cNvPr>
          <p:cNvSpPr txBox="1">
            <a:spLocks/>
          </p:cNvSpPr>
          <p:nvPr/>
        </p:nvSpPr>
        <p:spPr bwMode="auto">
          <a:xfrm>
            <a:off x="1655290" y="1701610"/>
            <a:ext cx="8197702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9pPr>
          </a:lstStyle>
          <a:p>
            <a:pPr defTabSz="4572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CL" altLang="en-US" sz="6000" b="1" dirty="0">
                <a:solidFill>
                  <a:srgbClr val="FFFFFF"/>
                </a:solidFill>
                <a:latin typeface="Verdana" panose="020B0604030504040204" pitchFamily="34" charset="0"/>
                <a:sym typeface="Verdana Bold" charset="0"/>
              </a:rPr>
              <a:t>GRACIAS</a:t>
            </a:r>
          </a:p>
        </p:txBody>
      </p:sp>
    </p:spTree>
    <p:extLst>
      <p:ext uri="{BB962C8B-B14F-4D97-AF65-F5344CB8AC3E}">
        <p14:creationId xmlns:p14="http://schemas.microsoft.com/office/powerpoint/2010/main" val="19269669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8CA29BE3-B72F-483E-9383-CF2D1FC09D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3</a:t>
            </a:fld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1C78E80C-7371-44AD-8F3B-B8150D2D4F3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304"/>
          <a:stretch/>
        </p:blipFill>
        <p:spPr>
          <a:xfrm>
            <a:off x="3111911" y="1013548"/>
            <a:ext cx="2920177" cy="115360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xmlns="" id="{CC2F6945-A182-41E2-9A86-2F3E0DA63ACE}"/>
              </a:ext>
            </a:extLst>
          </p:cNvPr>
          <p:cNvSpPr/>
          <p:nvPr/>
        </p:nvSpPr>
        <p:spPr>
          <a:xfrm>
            <a:off x="3228166" y="1158300"/>
            <a:ext cx="2687666" cy="864096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NISTERIO DE SALUD</a:t>
            </a:r>
          </a:p>
        </p:txBody>
      </p:sp>
      <p:sp>
        <p:nvSpPr>
          <p:cNvPr id="7" name="Rectángulo redondeado 10">
            <a:extLst>
              <a:ext uri="{FF2B5EF4-FFF2-40B4-BE49-F238E27FC236}">
                <a16:creationId xmlns:a16="http://schemas.microsoft.com/office/drawing/2014/main" xmlns="" id="{7E28726F-D69E-4ED1-84FE-9C7366386088}"/>
              </a:ext>
            </a:extLst>
          </p:cNvPr>
          <p:cNvSpPr/>
          <p:nvPr/>
        </p:nvSpPr>
        <p:spPr>
          <a:xfrm>
            <a:off x="344185" y="2708540"/>
            <a:ext cx="3311538" cy="1131466"/>
          </a:xfrm>
          <a:prstGeom prst="roundRect">
            <a:avLst/>
          </a:prstGeom>
          <a:solidFill>
            <a:srgbClr val="FF0000"/>
          </a:solidFill>
          <a:ln>
            <a:noFill/>
          </a:ln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/>
              <a:t>SALUD PUBLICA</a:t>
            </a:r>
          </a:p>
        </p:txBody>
      </p:sp>
      <p:sp>
        <p:nvSpPr>
          <p:cNvPr id="8" name="Rectángulo redondeado 7">
            <a:extLst>
              <a:ext uri="{FF2B5EF4-FFF2-40B4-BE49-F238E27FC236}">
                <a16:creationId xmlns:a16="http://schemas.microsoft.com/office/drawing/2014/main" xmlns="" id="{22BE6454-446E-4BED-A656-80FE84DC88BA}"/>
              </a:ext>
            </a:extLst>
          </p:cNvPr>
          <p:cNvSpPr/>
          <p:nvPr/>
        </p:nvSpPr>
        <p:spPr>
          <a:xfrm>
            <a:off x="5488275" y="2686403"/>
            <a:ext cx="3370027" cy="1153603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/>
              <a:t>REDES ASISTENCIALES</a:t>
            </a:r>
          </a:p>
        </p:txBody>
      </p:sp>
      <p:sp>
        <p:nvSpPr>
          <p:cNvPr id="9" name="Flecha abajo 3">
            <a:extLst>
              <a:ext uri="{FF2B5EF4-FFF2-40B4-BE49-F238E27FC236}">
                <a16:creationId xmlns:a16="http://schemas.microsoft.com/office/drawing/2014/main" xmlns="" id="{8EB478B4-2631-4F86-AF53-FA3B47E8DAFE}"/>
              </a:ext>
            </a:extLst>
          </p:cNvPr>
          <p:cNvSpPr/>
          <p:nvPr/>
        </p:nvSpPr>
        <p:spPr>
          <a:xfrm>
            <a:off x="1502660" y="4163616"/>
            <a:ext cx="936104" cy="1296144"/>
          </a:xfrm>
          <a:prstGeom prst="downArrow">
            <a:avLst/>
          </a:prstGeom>
          <a:solidFill>
            <a:schemeClr val="tx2">
              <a:lumMod val="75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Flecha abajo 3">
            <a:extLst>
              <a:ext uri="{FF2B5EF4-FFF2-40B4-BE49-F238E27FC236}">
                <a16:creationId xmlns:a16="http://schemas.microsoft.com/office/drawing/2014/main" xmlns="" id="{B0E7F26C-6070-4B7A-8695-D75B588B0B30}"/>
              </a:ext>
            </a:extLst>
          </p:cNvPr>
          <p:cNvSpPr/>
          <p:nvPr/>
        </p:nvSpPr>
        <p:spPr>
          <a:xfrm>
            <a:off x="6705238" y="4139545"/>
            <a:ext cx="936104" cy="1296144"/>
          </a:xfrm>
          <a:prstGeom prst="downArrow">
            <a:avLst/>
          </a:prstGeom>
          <a:solidFill>
            <a:schemeClr val="tx2">
              <a:lumMod val="75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Rectángulo redondeado 8">
            <a:extLst>
              <a:ext uri="{FF2B5EF4-FFF2-40B4-BE49-F238E27FC236}">
                <a16:creationId xmlns:a16="http://schemas.microsoft.com/office/drawing/2014/main" xmlns="" id="{5C937447-EFCE-48C3-96CA-E19F559CEF1C}"/>
              </a:ext>
            </a:extLst>
          </p:cNvPr>
          <p:cNvSpPr/>
          <p:nvPr/>
        </p:nvSpPr>
        <p:spPr>
          <a:xfrm>
            <a:off x="839802" y="5618692"/>
            <a:ext cx="2272109" cy="807345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REMIS</a:t>
            </a:r>
          </a:p>
        </p:txBody>
      </p:sp>
      <p:sp>
        <p:nvSpPr>
          <p:cNvPr id="12" name="Rectángulo redondeado 11">
            <a:extLst>
              <a:ext uri="{FF2B5EF4-FFF2-40B4-BE49-F238E27FC236}">
                <a16:creationId xmlns:a16="http://schemas.microsoft.com/office/drawing/2014/main" xmlns="" id="{782248CC-7E21-41A2-8CB0-F87C1EE91D51}"/>
              </a:ext>
            </a:extLst>
          </p:cNvPr>
          <p:cNvSpPr/>
          <p:nvPr/>
        </p:nvSpPr>
        <p:spPr>
          <a:xfrm>
            <a:off x="6037235" y="5564954"/>
            <a:ext cx="2272109" cy="807345"/>
          </a:xfrm>
          <a:prstGeom prst="roundRect">
            <a:avLst/>
          </a:prstGeom>
          <a:solidFill>
            <a:srgbClr val="4A8FBE"/>
          </a:solidFill>
          <a:ln w="19050">
            <a:solidFill>
              <a:srgbClr val="00B0F0"/>
            </a:solidFill>
          </a:ln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/>
              <a:t>Servicios de Salud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xmlns="" id="{A052EAAE-013A-4005-8038-18E1B51F2053}"/>
              </a:ext>
            </a:extLst>
          </p:cNvPr>
          <p:cNvGrpSpPr/>
          <p:nvPr/>
        </p:nvGrpSpPr>
        <p:grpSpPr>
          <a:xfrm>
            <a:off x="4184866" y="3041146"/>
            <a:ext cx="774266" cy="580700"/>
            <a:chOff x="4265491" y="1042799"/>
            <a:chExt cx="774266" cy="774266"/>
          </a:xfrm>
          <a:solidFill>
            <a:schemeClr val="tx2">
              <a:lumMod val="75000"/>
            </a:schemeClr>
          </a:solidFill>
        </p:grpSpPr>
        <p:sp>
          <p:nvSpPr>
            <p:cNvPr id="14" name="Más 30">
              <a:extLst>
                <a:ext uri="{FF2B5EF4-FFF2-40B4-BE49-F238E27FC236}">
                  <a16:creationId xmlns:a16="http://schemas.microsoft.com/office/drawing/2014/main" xmlns="" id="{1CF1FEC9-3DF4-4BC8-976D-4F985D7CB930}"/>
                </a:ext>
              </a:extLst>
            </p:cNvPr>
            <p:cNvSpPr/>
            <p:nvPr/>
          </p:nvSpPr>
          <p:spPr>
            <a:xfrm>
              <a:off x="4265491" y="1042799"/>
              <a:ext cx="774266" cy="774266"/>
            </a:xfrm>
            <a:prstGeom prst="mathPlus">
              <a:avLst/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Más 4">
              <a:extLst>
                <a:ext uri="{FF2B5EF4-FFF2-40B4-BE49-F238E27FC236}">
                  <a16:creationId xmlns:a16="http://schemas.microsoft.com/office/drawing/2014/main" xmlns="" id="{404746F7-3137-4BF7-8F18-4A8D736675BB}"/>
                </a:ext>
              </a:extLst>
            </p:cNvPr>
            <p:cNvSpPr/>
            <p:nvPr/>
          </p:nvSpPr>
          <p:spPr>
            <a:xfrm>
              <a:off x="4368120" y="1338878"/>
              <a:ext cx="569008" cy="18210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CL" sz="1300" dirty="0"/>
            </a:p>
          </p:txBody>
        </p:sp>
      </p:grpSp>
      <p:sp>
        <p:nvSpPr>
          <p:cNvPr id="6" name="CuadroTexto 5"/>
          <p:cNvSpPr txBox="1"/>
          <p:nvPr/>
        </p:nvSpPr>
        <p:spPr>
          <a:xfrm>
            <a:off x="191327" y="4278973"/>
            <a:ext cx="1499383" cy="45037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587" indent="0" algn="r">
              <a:buNone/>
            </a:pPr>
            <a:r>
              <a:rPr lang="es-CL" sz="2000" dirty="0" smtClean="0">
                <a:solidFill>
                  <a:schemeClr val="accent5"/>
                </a:solidFill>
              </a:rPr>
              <a:t>Divisiones</a:t>
            </a:r>
          </a:p>
        </p:txBody>
      </p:sp>
      <p:sp>
        <p:nvSpPr>
          <p:cNvPr id="16" name="CuadroTexto 15"/>
          <p:cNvSpPr txBox="1"/>
          <p:nvPr/>
        </p:nvSpPr>
        <p:spPr>
          <a:xfrm>
            <a:off x="5166140" y="5049946"/>
            <a:ext cx="1499383" cy="45037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587" indent="0" algn="ctr">
              <a:buNone/>
            </a:pPr>
            <a:r>
              <a:rPr lang="es-CL" sz="2000" dirty="0" smtClean="0">
                <a:solidFill>
                  <a:schemeClr val="accent5"/>
                </a:solidFill>
              </a:rPr>
              <a:t>Hospitales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7644617" y="5036953"/>
            <a:ext cx="1499383" cy="45037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587" indent="0" algn="ctr">
              <a:buNone/>
            </a:pPr>
            <a:r>
              <a:rPr lang="es-CL" sz="2000" dirty="0" smtClean="0">
                <a:solidFill>
                  <a:schemeClr val="accent5"/>
                </a:solidFill>
              </a:rPr>
              <a:t>APS</a:t>
            </a:r>
          </a:p>
        </p:txBody>
      </p:sp>
    </p:spTree>
    <p:extLst>
      <p:ext uri="{BB962C8B-B14F-4D97-AF65-F5344CB8AC3E}">
        <p14:creationId xmlns:p14="http://schemas.microsoft.com/office/powerpoint/2010/main" val="25184881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A7204418-A634-44F6-A8D3-4D11EF308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DIVERSOS ENFOQUES Y ESTRATEGIAS EN UNA SOLA META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1FEC8F86-323D-4635-9213-1941B385A7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4</a:t>
            </a:fld>
            <a:endParaRPr lang="es-CL" dirty="0"/>
          </a:p>
        </p:txBody>
      </p:sp>
      <p:sp>
        <p:nvSpPr>
          <p:cNvPr id="8" name="Oval 8">
            <a:extLst>
              <a:ext uri="{FF2B5EF4-FFF2-40B4-BE49-F238E27FC236}">
                <a16:creationId xmlns:a16="http://schemas.microsoft.com/office/drawing/2014/main" xmlns="" id="{F7C4CC39-191D-4789-BBDE-E61466F74756}"/>
              </a:ext>
            </a:extLst>
          </p:cNvPr>
          <p:cNvSpPr/>
          <p:nvPr/>
        </p:nvSpPr>
        <p:spPr>
          <a:xfrm>
            <a:off x="3014133" y="3032787"/>
            <a:ext cx="2980267" cy="15578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>
              <a:solidFill>
                <a:schemeClr val="bg1"/>
              </a:solidFill>
            </a:endParaRP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xmlns="" id="{23229DF1-AC7C-439D-806F-C97273AE7248}"/>
              </a:ext>
            </a:extLst>
          </p:cNvPr>
          <p:cNvSpPr txBox="1">
            <a:spLocks/>
          </p:cNvSpPr>
          <p:nvPr/>
        </p:nvSpPr>
        <p:spPr>
          <a:xfrm>
            <a:off x="0" y="1464734"/>
            <a:ext cx="9144000" cy="5333204"/>
          </a:xfrm>
          <a:prstGeom prst="rect">
            <a:avLst/>
          </a:prstGeom>
        </p:spPr>
        <p:txBody>
          <a:bodyPr/>
          <a:lstStyle>
            <a:defPPr>
              <a:defRPr lang="es-CL"/>
            </a:defPPr>
            <a:lvl1pPr marL="0" algn="l" defTabSz="914400" rtl="0" eaLnBrk="1" latinLnBrk="0" hangingPunct="1">
              <a:defRPr sz="12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8D80864-CD6D-4ED1-9B9F-E6D2DF28481A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xmlns="" id="{DBC75AC4-FA5B-4F00-9EF9-010D62CEC5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1970" y="4923862"/>
            <a:ext cx="3040164" cy="14440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xmlns="" id="{FBCF8B26-CE55-44B3-8474-BEBF08ABA3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967009"/>
            <a:ext cx="2574044" cy="20429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3">
            <a:extLst>
              <a:ext uri="{FF2B5EF4-FFF2-40B4-BE49-F238E27FC236}">
                <a16:creationId xmlns:a16="http://schemas.microsoft.com/office/drawing/2014/main" xmlns="" id="{8D92C82E-8EC8-4337-AE25-3C851BA8BB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8534" y="2954784"/>
            <a:ext cx="2689507" cy="21714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6">
            <a:extLst>
              <a:ext uri="{FF2B5EF4-FFF2-40B4-BE49-F238E27FC236}">
                <a16:creationId xmlns:a16="http://schemas.microsoft.com/office/drawing/2014/main" xmlns="" id="{061C2271-6CC8-419C-B095-9AE56065D4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7054" y="1832001"/>
            <a:ext cx="5960533" cy="7568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extBox 6">
            <a:extLst>
              <a:ext uri="{FF2B5EF4-FFF2-40B4-BE49-F238E27FC236}">
                <a16:creationId xmlns:a16="http://schemas.microsoft.com/office/drawing/2014/main" xmlns="" id="{5E14B168-74DD-4039-B912-AD08E30C9B15}"/>
              </a:ext>
            </a:extLst>
          </p:cNvPr>
          <p:cNvSpPr txBox="1"/>
          <p:nvPr/>
        </p:nvSpPr>
        <p:spPr>
          <a:xfrm>
            <a:off x="3352800" y="3278241"/>
            <a:ext cx="2235200" cy="10081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1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BERTURA UNIVERSAL </a:t>
            </a:r>
          </a:p>
          <a:p>
            <a:pPr algn="ctr"/>
            <a:r>
              <a:rPr lang="en-US" sz="21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SALUD</a:t>
            </a:r>
            <a:endParaRPr lang="es-ES_tradnl" sz="2133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TextBox 9">
            <a:extLst>
              <a:ext uri="{FF2B5EF4-FFF2-40B4-BE49-F238E27FC236}">
                <a16:creationId xmlns:a16="http://schemas.microsoft.com/office/drawing/2014/main" xmlns="" id="{9B6C4021-D159-4723-B3F6-13B640095F3B}"/>
              </a:ext>
            </a:extLst>
          </p:cNvPr>
          <p:cNvSpPr txBox="1"/>
          <p:nvPr/>
        </p:nvSpPr>
        <p:spPr>
          <a:xfrm>
            <a:off x="3463640" y="1489365"/>
            <a:ext cx="2099733" cy="397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133" b="1" dirty="0">
                <a:solidFill>
                  <a:srgbClr val="993300"/>
                </a:solidFill>
              </a:rPr>
              <a:t>FESP</a:t>
            </a:r>
            <a:endParaRPr lang="es-ES_tradnl" sz="2133" b="1" dirty="0">
              <a:solidFill>
                <a:srgbClr val="99330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08315EBD-49A0-467C-93F5-7D25CE97E68B}"/>
              </a:ext>
            </a:extLst>
          </p:cNvPr>
          <p:cNvSpPr txBox="1"/>
          <p:nvPr/>
        </p:nvSpPr>
        <p:spPr>
          <a:xfrm>
            <a:off x="6642670" y="2683934"/>
            <a:ext cx="2099733" cy="397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133" b="1" dirty="0">
                <a:solidFill>
                  <a:srgbClr val="993300"/>
                </a:solidFill>
              </a:rPr>
              <a:t>RISS</a:t>
            </a:r>
            <a:endParaRPr lang="es-ES_tradnl" sz="2133" b="1" dirty="0">
              <a:solidFill>
                <a:srgbClr val="993300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1F35A78C-12ED-4A8C-84A2-CEA467CF4D25}"/>
              </a:ext>
            </a:extLst>
          </p:cNvPr>
          <p:cNvSpPr txBox="1"/>
          <p:nvPr/>
        </p:nvSpPr>
        <p:spPr>
          <a:xfrm>
            <a:off x="304800" y="2616201"/>
            <a:ext cx="2099733" cy="397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133" b="1" dirty="0">
                <a:solidFill>
                  <a:srgbClr val="993300"/>
                </a:solidFill>
              </a:rPr>
              <a:t>APS</a:t>
            </a:r>
            <a:endParaRPr lang="es-ES_tradnl" sz="2133" b="1" dirty="0">
              <a:solidFill>
                <a:srgbClr val="993300"/>
              </a:solidFill>
            </a:endParaRPr>
          </a:p>
        </p:txBody>
      </p:sp>
      <p:sp>
        <p:nvSpPr>
          <p:cNvPr id="19" name="Notched Right Arrow 13">
            <a:extLst>
              <a:ext uri="{FF2B5EF4-FFF2-40B4-BE49-F238E27FC236}">
                <a16:creationId xmlns:a16="http://schemas.microsoft.com/office/drawing/2014/main" xmlns="" id="{E8CCDC47-C5EA-4F4F-9756-8E3702951BF9}"/>
              </a:ext>
            </a:extLst>
          </p:cNvPr>
          <p:cNvSpPr/>
          <p:nvPr/>
        </p:nvSpPr>
        <p:spPr>
          <a:xfrm rot="5400000">
            <a:off x="4193650" y="2507890"/>
            <a:ext cx="590451" cy="646033"/>
          </a:xfrm>
          <a:prstGeom prst="notchedRightArrow">
            <a:avLst/>
          </a:prstGeom>
          <a:solidFill>
            <a:srgbClr val="0000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0" name="Notched Right Arrow 21">
            <a:extLst>
              <a:ext uri="{FF2B5EF4-FFF2-40B4-BE49-F238E27FC236}">
                <a16:creationId xmlns:a16="http://schemas.microsoft.com/office/drawing/2014/main" xmlns="" id="{CCBFF12C-9AD2-4805-A476-147AC5B90045}"/>
              </a:ext>
            </a:extLst>
          </p:cNvPr>
          <p:cNvSpPr/>
          <p:nvPr/>
        </p:nvSpPr>
        <p:spPr>
          <a:xfrm>
            <a:off x="2491416" y="3528034"/>
            <a:ext cx="590451" cy="646033"/>
          </a:xfrm>
          <a:prstGeom prst="notchedRightArrow">
            <a:avLst/>
          </a:prstGeom>
          <a:solidFill>
            <a:srgbClr val="0000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1" name="Notched Right Arrow 22">
            <a:extLst>
              <a:ext uri="{FF2B5EF4-FFF2-40B4-BE49-F238E27FC236}">
                <a16:creationId xmlns:a16="http://schemas.microsoft.com/office/drawing/2014/main" xmlns="" id="{00BFC42C-3078-45AC-BE50-8F870E36A557}"/>
              </a:ext>
            </a:extLst>
          </p:cNvPr>
          <p:cNvSpPr/>
          <p:nvPr/>
        </p:nvSpPr>
        <p:spPr>
          <a:xfrm rot="10800000">
            <a:off x="6013550" y="3496734"/>
            <a:ext cx="590451" cy="646033"/>
          </a:xfrm>
          <a:prstGeom prst="notchedRightArrow">
            <a:avLst/>
          </a:prstGeom>
          <a:solidFill>
            <a:srgbClr val="0000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2" name="Notched Right Arrow 23">
            <a:extLst>
              <a:ext uri="{FF2B5EF4-FFF2-40B4-BE49-F238E27FC236}">
                <a16:creationId xmlns:a16="http://schemas.microsoft.com/office/drawing/2014/main" xmlns="" id="{5E4BA4C0-B374-41E6-BBC3-04413A146EFA}"/>
              </a:ext>
            </a:extLst>
          </p:cNvPr>
          <p:cNvSpPr/>
          <p:nvPr/>
        </p:nvSpPr>
        <p:spPr>
          <a:xfrm rot="16200000">
            <a:off x="4193391" y="4368625"/>
            <a:ext cx="590451" cy="646033"/>
          </a:xfrm>
          <a:prstGeom prst="notchedRightArrow">
            <a:avLst/>
          </a:prstGeom>
          <a:solidFill>
            <a:srgbClr val="0000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985981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4465285-D7BD-4BC2-ABC4-9B3771438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FUNCIONES ESENCIALES EN SALUD PÚBLICA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B0CC7D92-9BB0-4F00-9D5E-D582009471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5</a:t>
            </a:fld>
            <a:endParaRPr lang="es-CL" dirty="0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DC472008-95E0-46EB-B753-991D07034F6E}"/>
              </a:ext>
            </a:extLst>
          </p:cNvPr>
          <p:cNvSpPr/>
          <p:nvPr/>
        </p:nvSpPr>
        <p:spPr>
          <a:xfrm>
            <a:off x="356714" y="926735"/>
            <a:ext cx="8581392" cy="57072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sz="2000" b="1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1 </a:t>
            </a:r>
            <a:r>
              <a:rPr lang="es-CL" sz="2000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nitoreo y análisis de la situación de salud de la población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sz="2000" b="1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2</a:t>
            </a:r>
            <a:r>
              <a:rPr lang="es-CL" sz="2000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gilancia de la salud pública, investigación y control de riesgos y daños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sz="2000" b="1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3</a:t>
            </a:r>
            <a:r>
              <a:rPr lang="es-CL" sz="2000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romoción de la salud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sz="2000" b="1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4</a:t>
            </a:r>
            <a:r>
              <a:rPr lang="es-CL" sz="2000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articipación social y refuerzo del poder de los ciudadanos en salud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sz="2000" b="1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5</a:t>
            </a:r>
            <a:r>
              <a:rPr lang="es-CL" sz="2000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sarrollo de políticas y planes que apoyen los esfuerzos individuales y colectivos en salud pública y contribuyan a la rectoría sanitaria nacional.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sz="2000" b="1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6</a:t>
            </a:r>
            <a:r>
              <a:rPr lang="es-CL" sz="2000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ortalecimiento de la capacidad institucional de regulación y fiscalización en salud.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sz="2000" b="1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7 </a:t>
            </a:r>
            <a:r>
              <a:rPr lang="es-CL" sz="2000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aluación y promoción del acceso equitativo a los servicios de salud.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sz="2000" b="1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8</a:t>
            </a:r>
            <a:r>
              <a:rPr lang="es-CL" sz="2000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sarrollo de recursos humanos y capacitación en salud pública.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sz="2000" b="1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9</a:t>
            </a:r>
            <a:r>
              <a:rPr lang="es-CL" sz="2000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Garantía y mejoramiento de la calidad de los servicios de salud individuales y colectivos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CL" sz="2000" b="1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10</a:t>
            </a:r>
            <a:r>
              <a:rPr lang="es-CL" sz="2000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vestigación, desarrollo e implementación de soluciones innovadoras. </a:t>
            </a:r>
          </a:p>
          <a:p>
            <a:pPr algn="just"/>
            <a:r>
              <a:rPr lang="es-CL" sz="2000" b="1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11</a:t>
            </a:r>
            <a:r>
              <a:rPr lang="es-CL" sz="2000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educción del impacto de las emergencias y desastres </a:t>
            </a:r>
            <a:r>
              <a:rPr lang="es-CL" sz="20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 </a:t>
            </a:r>
            <a:r>
              <a:rPr lang="es-CL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 salud</a:t>
            </a:r>
            <a:endParaRPr lang="es-CL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4176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F792590F-EBCB-4645-9A6D-BD254B5C07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6</a:t>
            </a:fld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6163AEE4-780C-4224-8096-21C0EEB5DC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956" y="454150"/>
            <a:ext cx="8165150" cy="5951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587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2EDE6668-CFC5-4223-9C42-DF5F07F5A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PRINCIPIOS DE LA CONTINUIDAD OPERACIONAL MIDA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2AB98EF0-2904-41DF-B967-54BE4FF7AA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7</a:t>
            </a:fld>
            <a:endParaRPr lang="es-CL" dirty="0"/>
          </a:p>
        </p:txBody>
      </p:sp>
      <p:graphicFrame>
        <p:nvGraphicFramePr>
          <p:cNvPr id="4" name="Diagrama 3">
            <a:extLst>
              <a:ext uri="{FF2B5EF4-FFF2-40B4-BE49-F238E27FC236}">
                <a16:creationId xmlns:a16="http://schemas.microsoft.com/office/drawing/2014/main" xmlns="" id="{2D72BBCA-BA0B-4B0F-80AD-A53F59C747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94579765"/>
              </p:ext>
            </p:extLst>
          </p:nvPr>
        </p:nvGraphicFramePr>
        <p:xfrm>
          <a:off x="356712" y="1416908"/>
          <a:ext cx="8416779" cy="46708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0322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615C78A3-21EE-48EF-B806-4A57DAA6A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EQUIPO DE DESARROLLO MIDAS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53E76E78-1EEF-4F4B-B5A7-DBD010DFD7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8</a:t>
            </a:fld>
            <a:endParaRPr lang="es-CL" dirty="0"/>
          </a:p>
        </p:txBody>
      </p:sp>
      <p:graphicFrame>
        <p:nvGraphicFramePr>
          <p:cNvPr id="4" name="Diagrama 3">
            <a:extLst>
              <a:ext uri="{FF2B5EF4-FFF2-40B4-BE49-F238E27FC236}">
                <a16:creationId xmlns:a16="http://schemas.microsoft.com/office/drawing/2014/main" xmlns="" id="{DA08D239-318A-434B-BA27-F45FF99C7B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1282000"/>
              </p:ext>
            </p:extLst>
          </p:nvPr>
        </p:nvGraphicFramePr>
        <p:xfrm>
          <a:off x="834886" y="1060174"/>
          <a:ext cx="7938606" cy="55489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980927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2B535BCD-AADF-464C-8273-7C50CA904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PROFESIONALES MINSAL (5)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246742D7-55F2-4472-96C2-FC78E0B789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9</a:t>
            </a:fld>
            <a:endParaRPr lang="es-CL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xmlns="" id="{53C51976-1A46-4AE6-B1DF-42085C904AA6}"/>
              </a:ext>
            </a:extLst>
          </p:cNvPr>
          <p:cNvSpPr/>
          <p:nvPr/>
        </p:nvSpPr>
        <p:spPr>
          <a:xfrm>
            <a:off x="3215775" y="1134054"/>
            <a:ext cx="2598843" cy="926794"/>
          </a:xfrm>
          <a:prstGeom prst="rect">
            <a:avLst/>
          </a:prstGeom>
          <a:solidFill>
            <a:srgbClr val="00808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latin typeface="Calibri" panose="020F0502020204030204" pitchFamily="34" charset="0"/>
                <a:cs typeface="Calibri" panose="020F0502020204030204" pitchFamily="34" charset="0"/>
              </a:rPr>
              <a:t>Jefa de Proyecto MIDAS</a:t>
            </a:r>
          </a:p>
          <a:p>
            <a:pPr algn="ctr"/>
            <a:r>
              <a:rPr lang="es-CL" sz="14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Roxana Peña Cuevas</a:t>
            </a:r>
          </a:p>
          <a:p>
            <a:pPr algn="ctr"/>
            <a:r>
              <a:rPr lang="es-CL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geniero Informático (20 años)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xmlns="" id="{1F718DAD-937E-4BE7-968A-4FC7DDBBFE65}"/>
              </a:ext>
            </a:extLst>
          </p:cNvPr>
          <p:cNvSpPr/>
          <p:nvPr/>
        </p:nvSpPr>
        <p:spPr>
          <a:xfrm>
            <a:off x="395536" y="2576670"/>
            <a:ext cx="1933357" cy="792088"/>
          </a:xfrm>
          <a:prstGeom prst="rect">
            <a:avLst/>
          </a:prstGeom>
          <a:solidFill>
            <a:srgbClr val="0082B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>
                <a:latin typeface="Calibri" panose="020F0502020204030204" pitchFamily="34" charset="0"/>
                <a:cs typeface="Calibri" panose="020F0502020204030204" pitchFamily="34" charset="0"/>
              </a:rPr>
              <a:t>Jefa de Proyecto </a:t>
            </a:r>
          </a:p>
          <a:p>
            <a:pPr algn="ctr"/>
            <a:r>
              <a:rPr lang="es-CL" sz="14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Gloria Alfaro Pizarro</a:t>
            </a:r>
          </a:p>
          <a:p>
            <a:pPr algn="ctr"/>
            <a:r>
              <a:rPr lang="es-CL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geniero Informático (11 años)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xmlns="" id="{3FB831BE-EAC6-4C36-A9EA-F6FF10D02DF1}"/>
              </a:ext>
            </a:extLst>
          </p:cNvPr>
          <p:cNvSpPr/>
          <p:nvPr/>
        </p:nvSpPr>
        <p:spPr>
          <a:xfrm>
            <a:off x="2411760" y="2576670"/>
            <a:ext cx="1933357" cy="792088"/>
          </a:xfrm>
          <a:prstGeom prst="rect">
            <a:avLst/>
          </a:prstGeom>
          <a:solidFill>
            <a:srgbClr val="0082B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CL" dirty="0">
                <a:latin typeface="Calibri" panose="020F0502020204030204" pitchFamily="34" charset="0"/>
                <a:cs typeface="Calibri" panose="020F0502020204030204" pitchFamily="34" charset="0"/>
              </a:rPr>
              <a:t>Jefa de Proyecto </a:t>
            </a:r>
          </a:p>
          <a:p>
            <a:pPr algn="ctr"/>
            <a:r>
              <a:rPr lang="es-CL" sz="14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Myrlen Ortiz </a:t>
            </a:r>
            <a:r>
              <a:rPr lang="es-CL" sz="1400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Oyarzún</a:t>
            </a:r>
            <a:endParaRPr lang="es-CL" sz="14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s-CL" sz="1000" dirty="0">
                <a:solidFill>
                  <a:schemeClr val="bg1"/>
                </a:solidFill>
              </a:rPr>
              <a:t>Estadística-</a:t>
            </a:r>
            <a:r>
              <a:rPr lang="es-CL" sz="1000" dirty="0" err="1">
                <a:solidFill>
                  <a:schemeClr val="bg1"/>
                </a:solidFill>
              </a:rPr>
              <a:t>Ing.Comercial</a:t>
            </a:r>
            <a:r>
              <a:rPr lang="es-CL" sz="1000" dirty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es-CL" sz="1000" dirty="0">
                <a:solidFill>
                  <a:schemeClr val="bg1"/>
                </a:solidFill>
              </a:rPr>
              <a:t>(2 años)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3300CB80-D80F-4111-B405-3EDC48165A85}"/>
              </a:ext>
            </a:extLst>
          </p:cNvPr>
          <p:cNvSpPr/>
          <p:nvPr/>
        </p:nvSpPr>
        <p:spPr>
          <a:xfrm>
            <a:off x="4427984" y="2576670"/>
            <a:ext cx="1933357" cy="792088"/>
          </a:xfrm>
          <a:prstGeom prst="rect">
            <a:avLst/>
          </a:prstGeom>
          <a:solidFill>
            <a:srgbClr val="0082B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CL" dirty="0">
                <a:latin typeface="Calibri" panose="020F0502020204030204" pitchFamily="34" charset="0"/>
                <a:cs typeface="Calibri" panose="020F0502020204030204" pitchFamily="34" charset="0"/>
              </a:rPr>
              <a:t>Jefa de Proyecto </a:t>
            </a:r>
          </a:p>
          <a:p>
            <a:pPr algn="ctr"/>
            <a:r>
              <a:rPr lang="es-CL" sz="14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Johanna Cortés Guerra</a:t>
            </a:r>
          </a:p>
          <a:p>
            <a:pPr algn="ctr"/>
            <a:r>
              <a:rPr lang="es-CL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ógrafa (1 año)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xmlns="" id="{8E8029CB-12F3-488D-913D-54CF3F9D6339}"/>
              </a:ext>
            </a:extLst>
          </p:cNvPr>
          <p:cNvSpPr/>
          <p:nvPr/>
        </p:nvSpPr>
        <p:spPr>
          <a:xfrm>
            <a:off x="6463941" y="2576670"/>
            <a:ext cx="1933357" cy="792088"/>
          </a:xfrm>
          <a:prstGeom prst="rect">
            <a:avLst/>
          </a:prstGeom>
          <a:solidFill>
            <a:srgbClr val="0082B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CL" dirty="0">
                <a:latin typeface="Calibri" panose="020F0502020204030204" pitchFamily="34" charset="0"/>
                <a:cs typeface="Calibri" panose="020F0502020204030204" pitchFamily="34" charset="0"/>
              </a:rPr>
              <a:t>Jefa de Proyecto </a:t>
            </a:r>
          </a:p>
          <a:p>
            <a:pPr algn="ctr"/>
            <a:r>
              <a:rPr lang="es-CL" sz="14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Natalia Godoy Ramos</a:t>
            </a:r>
          </a:p>
          <a:p>
            <a:pPr algn="ctr"/>
            <a:r>
              <a:rPr lang="es-CL" sz="1000" dirty="0">
                <a:solidFill>
                  <a:schemeClr val="bg1"/>
                </a:solidFill>
              </a:rPr>
              <a:t>Agrónomo-</a:t>
            </a:r>
            <a:r>
              <a:rPr lang="es-CL" sz="1000" dirty="0" err="1">
                <a:solidFill>
                  <a:schemeClr val="bg1"/>
                </a:solidFill>
              </a:rPr>
              <a:t>Ing.Civil</a:t>
            </a:r>
            <a:r>
              <a:rPr lang="es-CL" sz="1000" dirty="0">
                <a:solidFill>
                  <a:schemeClr val="bg1"/>
                </a:solidFill>
              </a:rPr>
              <a:t> Industrial </a:t>
            </a:r>
          </a:p>
          <a:p>
            <a:pPr algn="ctr"/>
            <a:r>
              <a:rPr lang="es-CL" sz="1000" dirty="0">
                <a:solidFill>
                  <a:schemeClr val="bg1"/>
                </a:solidFill>
              </a:rPr>
              <a:t>(1 año)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2C13A81D-3AF3-4D95-B6F7-C143856A81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031" y="3394256"/>
            <a:ext cx="1632515" cy="754086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xmlns="" id="{7CA1C1EE-1158-4346-B998-BF45061F98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031" y="4207068"/>
            <a:ext cx="1632515" cy="758381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xmlns="" id="{CA7ED956-0482-4469-9373-F0795C218C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032" y="5013176"/>
            <a:ext cx="1632514" cy="758381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xmlns="" id="{EDFC4E24-55A1-48EA-92E0-09943D1AB0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18600" y="3501009"/>
            <a:ext cx="1658471" cy="76669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2CDB75BC-7C8E-429C-A967-38AE26DE07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74097" y="4385785"/>
            <a:ext cx="1628486" cy="758636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xmlns="" id="{F54E54DB-5F56-47D4-901D-61F030E3F0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74097" y="5190809"/>
            <a:ext cx="1628132" cy="758471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0A7F08B9-0127-48C0-AE61-55ADC1B8337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37646" y="3501008"/>
            <a:ext cx="1634554" cy="763325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965C2D96-C95E-4341-A7B7-4817942BA92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0398" y="4366937"/>
            <a:ext cx="1625078" cy="758636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xmlns="" id="{4EB96E69-8621-4F66-A746-01DC0537589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18753" y="3490789"/>
            <a:ext cx="1637223" cy="764305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xmlns="" id="{A497F092-9A85-48C5-9BBF-4B51487C9AE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720039" y="4283506"/>
            <a:ext cx="1635937" cy="767971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xmlns="" id="{90BBF66B-C4B1-46A5-8B72-54C95840BE5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718753" y="5125573"/>
            <a:ext cx="1651855" cy="751444"/>
          </a:xfrm>
          <a:prstGeom prst="rect">
            <a:avLst/>
          </a:prstGeom>
        </p:spPr>
      </p:pic>
      <p:pic>
        <p:nvPicPr>
          <p:cNvPr id="23" name="Imagen 22">
            <a:extLst>
              <a:ext uri="{FF2B5EF4-FFF2-40B4-BE49-F238E27FC236}">
                <a16:creationId xmlns:a16="http://schemas.microsoft.com/office/drawing/2014/main" xmlns="" id="{43824EA2-0B17-409E-BA89-4E75120ED1C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718753" y="5921955"/>
            <a:ext cx="1664677" cy="720639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xmlns="" id="{2B093373-A8E8-44D2-A665-8ACB90A0ECA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42030" y="5809778"/>
            <a:ext cx="1659692" cy="787574"/>
          </a:xfrm>
          <a:prstGeom prst="rect">
            <a:avLst/>
          </a:prstGeom>
        </p:spPr>
      </p:pic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xmlns="" id="{CD509CA5-6703-4C56-AE4E-623D618D841C}"/>
              </a:ext>
            </a:extLst>
          </p:cNvPr>
          <p:cNvCxnSpPr/>
          <p:nvPr/>
        </p:nvCxnSpPr>
        <p:spPr>
          <a:xfrm>
            <a:off x="1362215" y="2276872"/>
            <a:ext cx="6032164" cy="2562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xmlns="" id="{E88A725E-7667-4AFD-A234-385F8D21E4E6}"/>
              </a:ext>
            </a:extLst>
          </p:cNvPr>
          <p:cNvCxnSpPr>
            <a:endCxn id="8" idx="0"/>
          </p:cNvCxnSpPr>
          <p:nvPr/>
        </p:nvCxnSpPr>
        <p:spPr>
          <a:xfrm>
            <a:off x="1362214" y="2276872"/>
            <a:ext cx="1" cy="299798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xmlns="" id="{B2CDBED4-C09A-4C31-A255-2DDF34FAC35F}"/>
              </a:ext>
            </a:extLst>
          </p:cNvPr>
          <p:cNvCxnSpPr/>
          <p:nvPr/>
        </p:nvCxnSpPr>
        <p:spPr>
          <a:xfrm>
            <a:off x="3338267" y="2272126"/>
            <a:ext cx="1" cy="299798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xmlns="" id="{282E4163-CB59-426D-B069-D6D60E35A44D}"/>
              </a:ext>
            </a:extLst>
          </p:cNvPr>
          <p:cNvCxnSpPr/>
          <p:nvPr/>
        </p:nvCxnSpPr>
        <p:spPr>
          <a:xfrm>
            <a:off x="5378155" y="2279434"/>
            <a:ext cx="1" cy="299798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xmlns="" id="{9E76B1AE-13FB-4237-B797-5E5E096E28EB}"/>
              </a:ext>
            </a:extLst>
          </p:cNvPr>
          <p:cNvCxnSpPr/>
          <p:nvPr/>
        </p:nvCxnSpPr>
        <p:spPr>
          <a:xfrm>
            <a:off x="7394379" y="2272126"/>
            <a:ext cx="1" cy="299798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xmlns="" id="{BCBE2DE3-4001-4558-8113-ADB6ABC0F321}"/>
              </a:ext>
            </a:extLst>
          </p:cNvPr>
          <p:cNvCxnSpPr/>
          <p:nvPr/>
        </p:nvCxnSpPr>
        <p:spPr>
          <a:xfrm flipH="1">
            <a:off x="451195" y="3368758"/>
            <a:ext cx="1" cy="2740313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de flecha 31">
            <a:extLst>
              <a:ext uri="{FF2B5EF4-FFF2-40B4-BE49-F238E27FC236}">
                <a16:creationId xmlns:a16="http://schemas.microsoft.com/office/drawing/2014/main" xmlns="" id="{5C99EF38-B88B-4FA5-8C58-C9CDD34DD426}"/>
              </a:ext>
            </a:extLst>
          </p:cNvPr>
          <p:cNvCxnSpPr>
            <a:endCxn id="12" idx="1"/>
          </p:cNvCxnSpPr>
          <p:nvPr/>
        </p:nvCxnSpPr>
        <p:spPr>
          <a:xfrm flipV="1">
            <a:off x="451196" y="3771299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cto de flecha 32">
            <a:extLst>
              <a:ext uri="{FF2B5EF4-FFF2-40B4-BE49-F238E27FC236}">
                <a16:creationId xmlns:a16="http://schemas.microsoft.com/office/drawing/2014/main" xmlns="" id="{1DAA90A2-2DDC-4974-9AE2-AA9348CC3023}"/>
              </a:ext>
            </a:extLst>
          </p:cNvPr>
          <p:cNvCxnSpPr/>
          <p:nvPr/>
        </p:nvCxnSpPr>
        <p:spPr>
          <a:xfrm flipV="1">
            <a:off x="466739" y="4612386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de flecha 33">
            <a:extLst>
              <a:ext uri="{FF2B5EF4-FFF2-40B4-BE49-F238E27FC236}">
                <a16:creationId xmlns:a16="http://schemas.microsoft.com/office/drawing/2014/main" xmlns="" id="{688712C0-D213-4EEC-9AFC-8F56C03B6224}"/>
              </a:ext>
            </a:extLst>
          </p:cNvPr>
          <p:cNvCxnSpPr/>
          <p:nvPr/>
        </p:nvCxnSpPr>
        <p:spPr>
          <a:xfrm flipV="1">
            <a:off x="451195" y="5361853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de flecha 34">
            <a:extLst>
              <a:ext uri="{FF2B5EF4-FFF2-40B4-BE49-F238E27FC236}">
                <a16:creationId xmlns:a16="http://schemas.microsoft.com/office/drawing/2014/main" xmlns="" id="{386DBB27-10A0-4801-AC34-F9D06803C3F6}"/>
              </a:ext>
            </a:extLst>
          </p:cNvPr>
          <p:cNvCxnSpPr/>
          <p:nvPr/>
        </p:nvCxnSpPr>
        <p:spPr>
          <a:xfrm flipV="1">
            <a:off x="466738" y="6109071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xmlns="" id="{C622EA6A-DCB4-41C7-A520-7449BC5E8F84}"/>
              </a:ext>
            </a:extLst>
          </p:cNvPr>
          <p:cNvCxnSpPr/>
          <p:nvPr/>
        </p:nvCxnSpPr>
        <p:spPr>
          <a:xfrm>
            <a:off x="2498582" y="3371383"/>
            <a:ext cx="0" cy="2910891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de flecha 36">
            <a:extLst>
              <a:ext uri="{FF2B5EF4-FFF2-40B4-BE49-F238E27FC236}">
                <a16:creationId xmlns:a16="http://schemas.microsoft.com/office/drawing/2014/main" xmlns="" id="{2B2E3AC3-0273-49C8-BEA1-145B6C0CDEB0}"/>
              </a:ext>
            </a:extLst>
          </p:cNvPr>
          <p:cNvCxnSpPr/>
          <p:nvPr/>
        </p:nvCxnSpPr>
        <p:spPr>
          <a:xfrm flipV="1">
            <a:off x="2498583" y="3878051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cto de flecha 37">
            <a:extLst>
              <a:ext uri="{FF2B5EF4-FFF2-40B4-BE49-F238E27FC236}">
                <a16:creationId xmlns:a16="http://schemas.microsoft.com/office/drawing/2014/main" xmlns="" id="{2E8736A7-9299-4A92-9108-3A1222CC1CC7}"/>
              </a:ext>
            </a:extLst>
          </p:cNvPr>
          <p:cNvCxnSpPr/>
          <p:nvPr/>
        </p:nvCxnSpPr>
        <p:spPr>
          <a:xfrm flipV="1">
            <a:off x="2514126" y="4684394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de flecha 38">
            <a:extLst>
              <a:ext uri="{FF2B5EF4-FFF2-40B4-BE49-F238E27FC236}">
                <a16:creationId xmlns:a16="http://schemas.microsoft.com/office/drawing/2014/main" xmlns="" id="{109A95EC-9A6B-44DD-8367-607121F2EE3F}"/>
              </a:ext>
            </a:extLst>
          </p:cNvPr>
          <p:cNvCxnSpPr/>
          <p:nvPr/>
        </p:nvCxnSpPr>
        <p:spPr>
          <a:xfrm flipV="1">
            <a:off x="2498582" y="5438156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de flecha 39">
            <a:extLst>
              <a:ext uri="{FF2B5EF4-FFF2-40B4-BE49-F238E27FC236}">
                <a16:creationId xmlns:a16="http://schemas.microsoft.com/office/drawing/2014/main" xmlns="" id="{149AF92C-B4A4-49C7-B84A-0117AD0C4DC6}"/>
              </a:ext>
            </a:extLst>
          </p:cNvPr>
          <p:cNvCxnSpPr/>
          <p:nvPr/>
        </p:nvCxnSpPr>
        <p:spPr>
          <a:xfrm flipV="1">
            <a:off x="2514125" y="6261677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40">
            <a:extLst>
              <a:ext uri="{FF2B5EF4-FFF2-40B4-BE49-F238E27FC236}">
                <a16:creationId xmlns:a16="http://schemas.microsoft.com/office/drawing/2014/main" xmlns="" id="{A8143FF6-2A4C-4FED-A9AE-3A1B3C6BFF2C}"/>
              </a:ext>
            </a:extLst>
          </p:cNvPr>
          <p:cNvCxnSpPr>
            <a:cxnSpLocks/>
          </p:cNvCxnSpPr>
          <p:nvPr/>
        </p:nvCxnSpPr>
        <p:spPr>
          <a:xfrm flipH="1">
            <a:off x="4545818" y="3368758"/>
            <a:ext cx="13143" cy="2132537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cto de flecha 41">
            <a:extLst>
              <a:ext uri="{FF2B5EF4-FFF2-40B4-BE49-F238E27FC236}">
                <a16:creationId xmlns:a16="http://schemas.microsoft.com/office/drawing/2014/main" xmlns="" id="{B14D279A-D569-4590-A720-68C42723B2A9}"/>
              </a:ext>
            </a:extLst>
          </p:cNvPr>
          <p:cNvCxnSpPr>
            <a:cxnSpLocks/>
          </p:cNvCxnSpPr>
          <p:nvPr/>
        </p:nvCxnSpPr>
        <p:spPr>
          <a:xfrm>
            <a:off x="4539563" y="3880360"/>
            <a:ext cx="222449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de flecha 42">
            <a:extLst>
              <a:ext uri="{FF2B5EF4-FFF2-40B4-BE49-F238E27FC236}">
                <a16:creationId xmlns:a16="http://schemas.microsoft.com/office/drawing/2014/main" xmlns="" id="{D0AE4EC6-09A1-48AC-BBD0-173301C1D801}"/>
              </a:ext>
            </a:extLst>
          </p:cNvPr>
          <p:cNvCxnSpPr/>
          <p:nvPr/>
        </p:nvCxnSpPr>
        <p:spPr>
          <a:xfrm flipV="1">
            <a:off x="4530740" y="4684394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xmlns="" id="{465D02D5-5C94-4BE8-99BE-2E122F19929B}"/>
              </a:ext>
            </a:extLst>
          </p:cNvPr>
          <p:cNvCxnSpPr/>
          <p:nvPr/>
        </p:nvCxnSpPr>
        <p:spPr>
          <a:xfrm flipH="1">
            <a:off x="6556177" y="3368758"/>
            <a:ext cx="1" cy="2069398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de flecha 44">
            <a:extLst>
              <a:ext uri="{FF2B5EF4-FFF2-40B4-BE49-F238E27FC236}">
                <a16:creationId xmlns:a16="http://schemas.microsoft.com/office/drawing/2014/main" xmlns="" id="{4812D1F5-6EB2-4E9A-A099-88542FE1E561}"/>
              </a:ext>
            </a:extLst>
          </p:cNvPr>
          <p:cNvCxnSpPr/>
          <p:nvPr/>
        </p:nvCxnSpPr>
        <p:spPr>
          <a:xfrm flipV="1">
            <a:off x="6556178" y="3878051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6" name="Conector recto de flecha 45">
            <a:extLst>
              <a:ext uri="{FF2B5EF4-FFF2-40B4-BE49-F238E27FC236}">
                <a16:creationId xmlns:a16="http://schemas.microsoft.com/office/drawing/2014/main" xmlns="" id="{04228B5A-DD32-4C9F-A25A-98E847BC4380}"/>
              </a:ext>
            </a:extLst>
          </p:cNvPr>
          <p:cNvCxnSpPr/>
          <p:nvPr/>
        </p:nvCxnSpPr>
        <p:spPr>
          <a:xfrm flipV="1">
            <a:off x="6571721" y="4684394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cto de flecha 46">
            <a:extLst>
              <a:ext uri="{FF2B5EF4-FFF2-40B4-BE49-F238E27FC236}">
                <a16:creationId xmlns:a16="http://schemas.microsoft.com/office/drawing/2014/main" xmlns="" id="{B68A255E-A9E0-462F-B2A5-07DD4F76A9B4}"/>
              </a:ext>
            </a:extLst>
          </p:cNvPr>
          <p:cNvCxnSpPr/>
          <p:nvPr/>
        </p:nvCxnSpPr>
        <p:spPr>
          <a:xfrm flipV="1">
            <a:off x="6556177" y="5438156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48" name="Imagen 47">
            <a:extLst>
              <a:ext uri="{FF2B5EF4-FFF2-40B4-BE49-F238E27FC236}">
                <a16:creationId xmlns:a16="http://schemas.microsoft.com/office/drawing/2014/main" xmlns="" id="{8D4047AC-0486-466B-8C0F-1FA997E9F03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730833" y="5200380"/>
            <a:ext cx="1635937" cy="767971"/>
          </a:xfrm>
          <a:prstGeom prst="rect">
            <a:avLst/>
          </a:prstGeom>
        </p:spPr>
      </p:pic>
      <p:cxnSp>
        <p:nvCxnSpPr>
          <p:cNvPr id="49" name="Conector recto de flecha 48">
            <a:extLst>
              <a:ext uri="{FF2B5EF4-FFF2-40B4-BE49-F238E27FC236}">
                <a16:creationId xmlns:a16="http://schemas.microsoft.com/office/drawing/2014/main" xmlns="" id="{D65D5C10-CADD-4820-BADF-1A9BED6435AB}"/>
              </a:ext>
            </a:extLst>
          </p:cNvPr>
          <p:cNvCxnSpPr/>
          <p:nvPr/>
        </p:nvCxnSpPr>
        <p:spPr>
          <a:xfrm flipV="1">
            <a:off x="4539563" y="5486118"/>
            <a:ext cx="190835" cy="461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0" name="CuadroTexto 49">
            <a:extLst>
              <a:ext uri="{FF2B5EF4-FFF2-40B4-BE49-F238E27FC236}">
                <a16:creationId xmlns:a16="http://schemas.microsoft.com/office/drawing/2014/main" xmlns="" id="{A5796E0C-EEB2-4E0E-9286-39599F83F62A}"/>
              </a:ext>
            </a:extLst>
          </p:cNvPr>
          <p:cNvSpPr txBox="1"/>
          <p:nvPr/>
        </p:nvSpPr>
        <p:spPr>
          <a:xfrm>
            <a:off x="5554923" y="5274265"/>
            <a:ext cx="432048" cy="163891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r>
              <a:rPr lang="es-CL" sz="500" dirty="0" err="1">
                <a:latin typeface="+mj-lt"/>
              </a:rPr>
              <a:t>Sinaiso</a:t>
            </a:r>
            <a:endParaRPr lang="es-CL" sz="500" dirty="0">
              <a:latin typeface="+mj-lt"/>
            </a:endParaRPr>
          </a:p>
        </p:txBody>
      </p:sp>
      <p:cxnSp>
        <p:nvCxnSpPr>
          <p:cNvPr id="54" name="Conector recto 53">
            <a:extLst>
              <a:ext uri="{FF2B5EF4-FFF2-40B4-BE49-F238E27FC236}">
                <a16:creationId xmlns:a16="http://schemas.microsoft.com/office/drawing/2014/main" xmlns="" id="{53C93D37-F0DF-4270-BDB8-39BB5CD2BEA3}"/>
              </a:ext>
            </a:extLst>
          </p:cNvPr>
          <p:cNvCxnSpPr>
            <a:cxnSpLocks/>
            <a:endCxn id="7" idx="2"/>
          </p:cNvCxnSpPr>
          <p:nvPr/>
        </p:nvCxnSpPr>
        <p:spPr>
          <a:xfrm flipV="1">
            <a:off x="4515197" y="2060848"/>
            <a:ext cx="0" cy="218586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2021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ido">
  <a:themeElements>
    <a:clrScheme name="Personalizado 1">
      <a:dk1>
        <a:srgbClr val="FFFFFF"/>
      </a:dk1>
      <a:lt1>
        <a:srgbClr val="FFFFFF"/>
      </a:lt1>
      <a:dk2>
        <a:srgbClr val="33448D"/>
      </a:dk2>
      <a:lt2>
        <a:srgbClr val="FFFFFF"/>
      </a:lt2>
      <a:accent1>
        <a:srgbClr val="0070C0"/>
      </a:accent1>
      <a:accent2>
        <a:srgbClr val="E63C00"/>
      </a:accent2>
      <a:accent3>
        <a:srgbClr val="CC2A04"/>
      </a:accent3>
      <a:accent4>
        <a:srgbClr val="0070C0"/>
      </a:accent4>
      <a:accent5>
        <a:srgbClr val="003258"/>
      </a:accent5>
      <a:accent6>
        <a:srgbClr val="808080"/>
      </a:accent6>
      <a:hlink>
        <a:srgbClr val="D8D8D8"/>
      </a:hlink>
      <a:folHlink>
        <a:srgbClr val="87171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9525">
          <a:solidFill>
            <a:schemeClr val="accent1"/>
          </a:solidFill>
          <a:miter lim="800000"/>
          <a:headEnd/>
          <a:tailEnd/>
        </a:ln>
        <a:effectLst/>
        <a:extLst/>
      </a:spPr>
      <a:bodyPr vert="horz" wrap="square" lIns="72009" tIns="72009" rIns="72009" bIns="72009" numCol="1" anchor="t" anchorCtr="0" compatLnSpc="1">
        <a:prstTxWarp prst="textNoShape">
          <a:avLst/>
        </a:prstTxWarp>
        <a:noAutofit/>
      </a:bodyPr>
      <a:lstStyle>
        <a:defPPr marL="1587" indent="0">
          <a:buNone/>
          <a:defRPr sz="1200" dirty="0" smtClean="0"/>
        </a:defPPr>
      </a:lstStyle>
    </a:txDef>
  </a:objectDefaults>
  <a:extraClrSchemeLst>
    <a:extraClrScheme>
      <a:clrScheme name="Blank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C2">
        <a:dk1>
          <a:srgbClr val="33448D"/>
        </a:dk1>
        <a:lt1>
          <a:srgbClr val="FFFFFF"/>
        </a:lt1>
        <a:dk2>
          <a:srgbClr val="33448D"/>
        </a:dk2>
        <a:lt2>
          <a:srgbClr val="FFFFFF"/>
        </a:lt2>
        <a:accent1>
          <a:srgbClr val="B6BFDF"/>
        </a:accent1>
        <a:accent2>
          <a:srgbClr val="33448D"/>
        </a:accent2>
        <a:accent3>
          <a:srgbClr val="7686BA"/>
        </a:accent3>
        <a:accent4>
          <a:srgbClr val="BDCB38"/>
        </a:accent4>
        <a:accent5>
          <a:srgbClr val="4BACC6"/>
        </a:accent5>
        <a:accent6>
          <a:srgbClr val="808080"/>
        </a:accent6>
        <a:hlink>
          <a:srgbClr val="7686BA"/>
        </a:hlink>
        <a:folHlink>
          <a:srgbClr val="BDCB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43</TotalTime>
  <Words>1649</Words>
  <Application>Microsoft Office PowerPoint</Application>
  <PresentationFormat>Presentación en pantalla (4:3)</PresentationFormat>
  <Paragraphs>319</Paragraphs>
  <Slides>21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1</vt:i4>
      </vt:variant>
    </vt:vector>
  </HeadingPairs>
  <TitlesOfParts>
    <vt:vector size="30" baseType="lpstr">
      <vt:lpstr>Arial</vt:lpstr>
      <vt:lpstr>Calibri</vt:lpstr>
      <vt:lpstr>Times New Roman</vt:lpstr>
      <vt:lpstr>Verdana</vt:lpstr>
      <vt:lpstr>Verdana Bold</vt:lpstr>
      <vt:lpstr>ヒラギノ角ゴ Pro W3</vt:lpstr>
      <vt:lpstr>Contenido</vt:lpstr>
      <vt:lpstr>Office Theme</vt:lpstr>
      <vt:lpstr>Diapositiva de think-cell</vt:lpstr>
      <vt:lpstr>Presentación de PowerPoint</vt:lpstr>
      <vt:lpstr>Presentación de PowerPoint</vt:lpstr>
      <vt:lpstr>Presentación de PowerPoint</vt:lpstr>
      <vt:lpstr>DIVERSOS ENFOQUES Y ESTRATEGIAS EN UNA SOLA META</vt:lpstr>
      <vt:lpstr>FUNCIONES ESENCIALES EN SALUD PÚBLICA</vt:lpstr>
      <vt:lpstr>Presentación de PowerPoint</vt:lpstr>
      <vt:lpstr>PRINCIPIOS DE LA CONTINUIDAD OPERACIONAL MIDAS</vt:lpstr>
      <vt:lpstr>EQUIPO DE DESARROLLO MIDAS</vt:lpstr>
      <vt:lpstr>PROFESIONALES MINSAL (5)</vt:lpstr>
      <vt:lpstr>PROYECTOS DE GLORIA ALFARO PIZARRO</vt:lpstr>
      <vt:lpstr>Presentación de PowerPoint</vt:lpstr>
      <vt:lpstr>PROYECTOS DE GLORIA ALFARO PIZARRO</vt:lpstr>
      <vt:lpstr>PROYECTOS DE MYRLEN ORTIZ OYARZÚN</vt:lpstr>
      <vt:lpstr>PROYECTOS DE NATALIA GODOY RAMOS</vt:lpstr>
      <vt:lpstr>PROYECTOS DE JOHANNA CORTÉS GUERRA</vt:lpstr>
      <vt:lpstr>En qué estamos hoy…</vt:lpstr>
      <vt:lpstr>Desafíos 2019</vt:lpstr>
      <vt:lpstr>Desafíos 2019</vt:lpstr>
      <vt:lpstr>Desafíos 2019</vt:lpstr>
      <vt:lpstr>Desafíos 2019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ia Jesus Canelo</dc:creator>
  <cp:lastModifiedBy>Victor</cp:lastModifiedBy>
  <cp:revision>77</cp:revision>
  <dcterms:created xsi:type="dcterms:W3CDTF">2018-04-18T19:49:27Z</dcterms:created>
  <dcterms:modified xsi:type="dcterms:W3CDTF">2019-02-08T02:42:38Z</dcterms:modified>
</cp:coreProperties>
</file>